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4"/>
  </p:sldMasterIdLst>
  <p:notesMasterIdLst>
    <p:notesMasterId r:id="rId122"/>
  </p:notesMasterIdLst>
  <p:handoutMasterIdLst>
    <p:handoutMasterId r:id="rId123"/>
  </p:handoutMasterIdLst>
  <p:sldIdLst>
    <p:sldId id="528" r:id="rId5"/>
    <p:sldId id="3413" r:id="rId6"/>
    <p:sldId id="3409" r:id="rId7"/>
    <p:sldId id="3414" r:id="rId8"/>
    <p:sldId id="3410" r:id="rId9"/>
    <p:sldId id="3415" r:id="rId10"/>
    <p:sldId id="3411" r:id="rId11"/>
    <p:sldId id="3416" r:id="rId12"/>
    <p:sldId id="3391" r:id="rId13"/>
    <p:sldId id="526" r:id="rId14"/>
    <p:sldId id="533" r:id="rId15"/>
    <p:sldId id="540" r:id="rId16"/>
    <p:sldId id="3408" r:id="rId17"/>
    <p:sldId id="535" r:id="rId18"/>
    <p:sldId id="3377" r:id="rId19"/>
    <p:sldId id="542" r:id="rId20"/>
    <p:sldId id="543" r:id="rId21"/>
    <p:sldId id="544" r:id="rId22"/>
    <p:sldId id="545" r:id="rId23"/>
    <p:sldId id="364" r:id="rId24"/>
    <p:sldId id="537" r:id="rId25"/>
    <p:sldId id="3378" r:id="rId26"/>
    <p:sldId id="538" r:id="rId27"/>
    <p:sldId id="548" r:id="rId28"/>
    <p:sldId id="527" r:id="rId29"/>
    <p:sldId id="3412" r:id="rId30"/>
    <p:sldId id="650" r:id="rId31"/>
    <p:sldId id="3361" r:id="rId32"/>
    <p:sldId id="3356" r:id="rId33"/>
    <p:sldId id="3359" r:id="rId34"/>
    <p:sldId id="3375" r:id="rId35"/>
    <p:sldId id="3376" r:id="rId36"/>
    <p:sldId id="3360" r:id="rId37"/>
    <p:sldId id="651" r:id="rId38"/>
    <p:sldId id="655" r:id="rId39"/>
    <p:sldId id="3362" r:id="rId40"/>
    <p:sldId id="3363" r:id="rId41"/>
    <p:sldId id="624" r:id="rId42"/>
    <p:sldId id="3419" r:id="rId43"/>
    <p:sldId id="604" r:id="rId44"/>
    <p:sldId id="609" r:id="rId45"/>
    <p:sldId id="3368" r:id="rId46"/>
    <p:sldId id="3369" r:id="rId47"/>
    <p:sldId id="3370" r:id="rId48"/>
    <p:sldId id="3371" r:id="rId49"/>
    <p:sldId id="3373" r:id="rId50"/>
    <p:sldId id="541" r:id="rId51"/>
    <p:sldId id="3374" r:id="rId52"/>
    <p:sldId id="652" r:id="rId53"/>
    <p:sldId id="610" r:id="rId54"/>
    <p:sldId id="656" r:id="rId55"/>
    <p:sldId id="3418" r:id="rId56"/>
    <p:sldId id="611" r:id="rId57"/>
    <p:sldId id="612" r:id="rId58"/>
    <p:sldId id="613" r:id="rId59"/>
    <p:sldId id="616" r:id="rId60"/>
    <p:sldId id="657" r:id="rId61"/>
    <p:sldId id="617" r:id="rId62"/>
    <p:sldId id="618" r:id="rId63"/>
    <p:sldId id="619" r:id="rId64"/>
    <p:sldId id="622" r:id="rId65"/>
    <p:sldId id="623" r:id="rId66"/>
    <p:sldId id="615" r:id="rId67"/>
    <p:sldId id="621" r:id="rId68"/>
    <p:sldId id="614" r:id="rId69"/>
    <p:sldId id="620" r:id="rId70"/>
    <p:sldId id="626" r:id="rId71"/>
    <p:sldId id="3417" r:id="rId72"/>
    <p:sldId id="3354" r:id="rId73"/>
    <p:sldId id="369" r:id="rId74"/>
    <p:sldId id="326" r:id="rId75"/>
    <p:sldId id="653" r:id="rId76"/>
    <p:sldId id="576" r:id="rId77"/>
    <p:sldId id="658" r:id="rId78"/>
    <p:sldId id="647" r:id="rId79"/>
    <p:sldId id="589" r:id="rId80"/>
    <p:sldId id="643" r:id="rId81"/>
    <p:sldId id="592" r:id="rId82"/>
    <p:sldId id="590" r:id="rId83"/>
    <p:sldId id="599" r:id="rId84"/>
    <p:sldId id="600" r:id="rId85"/>
    <p:sldId id="583" r:id="rId86"/>
    <p:sldId id="568" r:id="rId87"/>
    <p:sldId id="578" r:id="rId88"/>
    <p:sldId id="663" r:id="rId89"/>
    <p:sldId id="3353" r:id="rId90"/>
    <p:sldId id="524" r:id="rId91"/>
    <p:sldId id="3364" r:id="rId92"/>
    <p:sldId id="3365" r:id="rId93"/>
    <p:sldId id="659" r:id="rId94"/>
    <p:sldId id="601" r:id="rId95"/>
    <p:sldId id="662" r:id="rId96"/>
    <p:sldId id="602" r:id="rId97"/>
    <p:sldId id="654" r:id="rId98"/>
    <p:sldId id="546" r:id="rId99"/>
    <p:sldId id="661" r:id="rId100"/>
    <p:sldId id="635" r:id="rId101"/>
    <p:sldId id="660" r:id="rId102"/>
    <p:sldId id="534" r:id="rId103"/>
    <p:sldId id="645" r:id="rId104"/>
    <p:sldId id="562" r:id="rId105"/>
    <p:sldId id="565" r:id="rId106"/>
    <p:sldId id="646" r:id="rId107"/>
    <p:sldId id="644" r:id="rId108"/>
    <p:sldId id="637" r:id="rId109"/>
    <p:sldId id="553" r:id="rId110"/>
    <p:sldId id="638" r:id="rId111"/>
    <p:sldId id="639" r:id="rId112"/>
    <p:sldId id="555" r:id="rId113"/>
    <p:sldId id="640" r:id="rId114"/>
    <p:sldId id="3366" r:id="rId115"/>
    <p:sldId id="579" r:id="rId116"/>
    <p:sldId id="642" r:id="rId117"/>
    <p:sldId id="648" r:id="rId118"/>
    <p:sldId id="627" r:id="rId119"/>
    <p:sldId id="628" r:id="rId120"/>
    <p:sldId id="630" r:id="rId12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" id="{1DC75F73-E6D6-4559-BEEF-B47DA8BF6A03}">
          <p14:sldIdLst>
            <p14:sldId id="528"/>
            <p14:sldId id="3413"/>
            <p14:sldId id="3409"/>
            <p14:sldId id="3414"/>
            <p14:sldId id="3410"/>
            <p14:sldId id="3415"/>
            <p14:sldId id="3411"/>
            <p14:sldId id="3416"/>
            <p14:sldId id="3391"/>
            <p14:sldId id="526"/>
            <p14:sldId id="533"/>
            <p14:sldId id="540"/>
            <p14:sldId id="3408"/>
            <p14:sldId id="535"/>
            <p14:sldId id="3377"/>
            <p14:sldId id="542"/>
            <p14:sldId id="543"/>
            <p14:sldId id="544"/>
            <p14:sldId id="545"/>
            <p14:sldId id="364"/>
            <p14:sldId id="537"/>
            <p14:sldId id="3378"/>
            <p14:sldId id="538"/>
            <p14:sldId id="548"/>
            <p14:sldId id="527"/>
            <p14:sldId id="3412"/>
          </p14:sldIdLst>
        </p14:section>
        <p14:section name="Folienbibliothek" id="{BA87BFD0-2A45-4F5A-B90B-9ACACD430E10}">
          <p14:sldIdLst>
            <p14:sldId id="650"/>
            <p14:sldId id="3361"/>
            <p14:sldId id="3356"/>
            <p14:sldId id="3359"/>
            <p14:sldId id="3375"/>
            <p14:sldId id="3376"/>
            <p14:sldId id="3360"/>
            <p14:sldId id="651"/>
          </p14:sldIdLst>
        </p14:section>
        <p14:section name="Beispielfolien" id="{8459E66B-5510-4990-9E5A-3B03261F1EFD}">
          <p14:sldIdLst>
            <p14:sldId id="655"/>
            <p14:sldId id="3362"/>
            <p14:sldId id="3363"/>
            <p14:sldId id="624"/>
            <p14:sldId id="3419"/>
            <p14:sldId id="604"/>
            <p14:sldId id="609"/>
            <p14:sldId id="3368"/>
            <p14:sldId id="3369"/>
            <p14:sldId id="3370"/>
            <p14:sldId id="3371"/>
            <p14:sldId id="3373"/>
            <p14:sldId id="541"/>
            <p14:sldId id="3374"/>
          </p14:sldIdLst>
        </p14:section>
        <p14:section name="Diagramme" id="{6AB70291-E507-4227-8E8C-811EFEFA6394}">
          <p14:sldIdLst>
            <p14:sldId id="652"/>
            <p14:sldId id="610"/>
            <p14:sldId id="656"/>
            <p14:sldId id="3418"/>
            <p14:sldId id="611"/>
            <p14:sldId id="612"/>
            <p14:sldId id="613"/>
            <p14:sldId id="616"/>
            <p14:sldId id="657"/>
            <p14:sldId id="617"/>
            <p14:sldId id="618"/>
            <p14:sldId id="619"/>
            <p14:sldId id="622"/>
            <p14:sldId id="623"/>
            <p14:sldId id="615"/>
            <p14:sldId id="621"/>
            <p14:sldId id="614"/>
            <p14:sldId id="620"/>
            <p14:sldId id="626"/>
            <p14:sldId id="3417"/>
          </p14:sldIdLst>
        </p14:section>
        <p14:section name="Tabellen" id="{DC8ACDB6-C29C-48DF-967B-88AF59ECF991}">
          <p14:sldIdLst>
            <p14:sldId id="3354"/>
            <p14:sldId id="369"/>
            <p14:sldId id="326"/>
          </p14:sldIdLst>
        </p14:section>
        <p14:section name="Prozesse und Projektpläne" id="{AA07C437-6F64-4EF5-B3FE-7753F08417AD}">
          <p14:sldIdLst>
            <p14:sldId id="653"/>
            <p14:sldId id="576"/>
            <p14:sldId id="658"/>
            <p14:sldId id="647"/>
            <p14:sldId id="589"/>
            <p14:sldId id="643"/>
            <p14:sldId id="592"/>
            <p14:sldId id="590"/>
            <p14:sldId id="599"/>
            <p14:sldId id="600"/>
            <p14:sldId id="583"/>
            <p14:sldId id="568"/>
            <p14:sldId id="578"/>
            <p14:sldId id="663"/>
            <p14:sldId id="3353"/>
            <p14:sldId id="524"/>
            <p14:sldId id="3364"/>
            <p14:sldId id="3365"/>
          </p14:sldIdLst>
        </p14:section>
        <p14:section name="Organigramme" id="{F7A5BB46-ACA2-4559-A33B-66F725C386CA}">
          <p14:sldIdLst>
            <p14:sldId id="659"/>
            <p14:sldId id="601"/>
            <p14:sldId id="662"/>
            <p14:sldId id="602"/>
          </p14:sldIdLst>
        </p14:section>
        <p14:section name="Formen und Textboxen" id="{CA6692D2-83F2-455F-84DD-7B6FDAFADBD1}">
          <p14:sldIdLst>
            <p14:sldId id="654"/>
            <p14:sldId id="546"/>
            <p14:sldId id="661"/>
            <p14:sldId id="635"/>
            <p14:sldId id="660"/>
            <p14:sldId id="534"/>
            <p14:sldId id="645"/>
            <p14:sldId id="562"/>
            <p14:sldId id="565"/>
            <p14:sldId id="646"/>
            <p14:sldId id="644"/>
            <p14:sldId id="637"/>
            <p14:sldId id="553"/>
            <p14:sldId id="638"/>
            <p14:sldId id="639"/>
            <p14:sldId id="555"/>
            <p14:sldId id="640"/>
            <p14:sldId id="3366"/>
            <p14:sldId id="579"/>
            <p14:sldId id="642"/>
            <p14:sldId id="648"/>
            <p14:sldId id="627"/>
            <p14:sldId id="628"/>
            <p14:sldId id="6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5F6B958-936C-8469-9454-7DE7C790D06C}" name="Josefine" initials="J" userId="c8fdedc8cc82ebb5" providerId="Windows Live"/>
  <p188:author id="{7F31B2B0-BD84-4DA9-DBB8-0343367C9C1B}" name="Conrad Lisa" initials="CL" userId="S::l.conrad@netze-bw.de::b3517bd2-a51c-4a32-bf55-86699027be98" providerId="AD"/>
  <p188:author id="{A06024F6-C7AF-E05B-4467-DB961BE5EA6E}" name="Martin Rosenthal" initials="MR" userId="S::martin.rosenthal@mutabor.de::938e567e-97c8-40a6-83ea-ccc34c84518b" providerId="AD"/>
  <p188:author id="{0A72C1FB-9671-6C38-C31D-C77B64416472}" name="Lisa Conrad" initials="LC" userId="Lisa Conrad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C041"/>
    <a:srgbClr val="1195EB"/>
    <a:srgbClr val="FE8F11"/>
    <a:srgbClr val="8FD4FF"/>
    <a:srgbClr val="000099"/>
    <a:srgbClr val="32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967" autoAdjust="0"/>
    <p:restoredTop sz="91909" autoAdjust="0"/>
  </p:normalViewPr>
  <p:slideViewPr>
    <p:cSldViewPr showGuides="1">
      <p:cViewPr varScale="1">
        <p:scale>
          <a:sx n="98" d="100"/>
          <a:sy n="98" d="100"/>
        </p:scale>
        <p:origin x="360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4008" y="15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handoutMaster" Target="handoutMasters/handoutMaster1.xml"/><Relationship Id="rId128" Type="http://schemas.microsoft.com/office/2016/11/relationships/changesInfo" Target="changesInfos/changesInfo1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13" Type="http://schemas.openxmlformats.org/officeDocument/2006/relationships/slide" Target="slides/slide109.xml"/><Relationship Id="rId118" Type="http://schemas.openxmlformats.org/officeDocument/2006/relationships/slide" Target="slides/slide114.xml"/><Relationship Id="rId126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16" Type="http://schemas.openxmlformats.org/officeDocument/2006/relationships/slide" Target="slides/slide112.xml"/><Relationship Id="rId124" Type="http://schemas.openxmlformats.org/officeDocument/2006/relationships/presProps" Target="presProps.xml"/><Relationship Id="rId129" Type="http://schemas.microsoft.com/office/2018/10/relationships/authors" Target="author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11" Type="http://schemas.openxmlformats.org/officeDocument/2006/relationships/slide" Target="slides/slide10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127" Type="http://schemas.openxmlformats.org/officeDocument/2006/relationships/tableStyles" Target="tableStyles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61" Type="http://schemas.openxmlformats.org/officeDocument/2006/relationships/slide" Target="slides/slide57.xml"/><Relationship Id="rId82" Type="http://schemas.openxmlformats.org/officeDocument/2006/relationships/slide" Target="slides/slide7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nrad Lisa" userId="b3517bd2-a51c-4a32-bf55-86699027be98" providerId="ADAL" clId="{1753DF5D-F43A-4D46-A563-64C790A8B7A4}"/>
    <pc:docChg chg="modSld">
      <pc:chgData name="Conrad Lisa" userId="b3517bd2-a51c-4a32-bf55-86699027be98" providerId="ADAL" clId="{1753DF5D-F43A-4D46-A563-64C790A8B7A4}" dt="2023-12-05T07:16:31.662" v="21"/>
      <pc:docMkLst>
        <pc:docMk/>
      </pc:docMkLst>
      <pc:sldChg chg="modSp mod">
        <pc:chgData name="Conrad Lisa" userId="b3517bd2-a51c-4a32-bf55-86699027be98" providerId="ADAL" clId="{1753DF5D-F43A-4D46-A563-64C790A8B7A4}" dt="2023-12-05T07:16:04.465" v="17" actId="20577"/>
        <pc:sldMkLst>
          <pc:docMk/>
          <pc:sldMk cId="1925974399" sldId="3356"/>
        </pc:sldMkLst>
        <pc:spChg chg="mod">
          <ac:chgData name="Conrad Lisa" userId="b3517bd2-a51c-4a32-bf55-86699027be98" providerId="ADAL" clId="{1753DF5D-F43A-4D46-A563-64C790A8B7A4}" dt="2023-12-05T07:16:04.465" v="17" actId="20577"/>
          <ac:spMkLst>
            <pc:docMk/>
            <pc:sldMk cId="1925974399" sldId="3356"/>
            <ac:spMk id="9" creationId="{425986B8-B85A-3C77-ADAF-1F40CA84E0DA}"/>
          </ac:spMkLst>
        </pc:spChg>
      </pc:sldChg>
      <pc:sldChg chg="modSp mod">
        <pc:chgData name="Conrad Lisa" userId="b3517bd2-a51c-4a32-bf55-86699027be98" providerId="ADAL" clId="{1753DF5D-F43A-4D46-A563-64C790A8B7A4}" dt="2023-12-05T07:16:21.249" v="18"/>
        <pc:sldMkLst>
          <pc:docMk/>
          <pc:sldMk cId="2923917843" sldId="3359"/>
        </pc:sldMkLst>
        <pc:spChg chg="mod">
          <ac:chgData name="Conrad Lisa" userId="b3517bd2-a51c-4a32-bf55-86699027be98" providerId="ADAL" clId="{1753DF5D-F43A-4D46-A563-64C790A8B7A4}" dt="2023-12-05T07:16:21.249" v="18"/>
          <ac:spMkLst>
            <pc:docMk/>
            <pc:sldMk cId="2923917843" sldId="3359"/>
            <ac:spMk id="32" creationId="{ADAECF12-166A-82EE-A61F-C34DB19F2E4A}"/>
          </ac:spMkLst>
        </pc:spChg>
      </pc:sldChg>
      <pc:sldChg chg="modSp mod">
        <pc:chgData name="Conrad Lisa" userId="b3517bd2-a51c-4a32-bf55-86699027be98" providerId="ADAL" clId="{1753DF5D-F43A-4D46-A563-64C790A8B7A4}" dt="2023-12-05T07:16:31.662" v="21"/>
        <pc:sldMkLst>
          <pc:docMk/>
          <pc:sldMk cId="2442353363" sldId="3360"/>
        </pc:sldMkLst>
        <pc:spChg chg="mod">
          <ac:chgData name="Conrad Lisa" userId="b3517bd2-a51c-4a32-bf55-86699027be98" providerId="ADAL" clId="{1753DF5D-F43A-4D46-A563-64C790A8B7A4}" dt="2023-12-05T07:16:31.662" v="21"/>
          <ac:spMkLst>
            <pc:docMk/>
            <pc:sldMk cId="2442353363" sldId="3360"/>
            <ac:spMk id="6" creationId="{210B9AF0-BC23-89AB-4B9F-44DBAFBB1269}"/>
          </ac:spMkLst>
        </pc:spChg>
      </pc:sldChg>
      <pc:sldChg chg="modSp mod">
        <pc:chgData name="Conrad Lisa" userId="b3517bd2-a51c-4a32-bf55-86699027be98" providerId="ADAL" clId="{1753DF5D-F43A-4D46-A563-64C790A8B7A4}" dt="2023-12-05T07:16:25.311" v="19"/>
        <pc:sldMkLst>
          <pc:docMk/>
          <pc:sldMk cId="2238834088" sldId="3375"/>
        </pc:sldMkLst>
        <pc:spChg chg="mod">
          <ac:chgData name="Conrad Lisa" userId="b3517bd2-a51c-4a32-bf55-86699027be98" providerId="ADAL" clId="{1753DF5D-F43A-4D46-A563-64C790A8B7A4}" dt="2023-12-05T07:16:25.311" v="19"/>
          <ac:spMkLst>
            <pc:docMk/>
            <pc:sldMk cId="2238834088" sldId="3375"/>
            <ac:spMk id="17" creationId="{86BA6CD1-A8C7-2483-A161-8DD3BBF2F8BF}"/>
          </ac:spMkLst>
        </pc:spChg>
      </pc:sldChg>
      <pc:sldChg chg="modSp mod">
        <pc:chgData name="Conrad Lisa" userId="b3517bd2-a51c-4a32-bf55-86699027be98" providerId="ADAL" clId="{1753DF5D-F43A-4D46-A563-64C790A8B7A4}" dt="2023-12-05T07:16:27.858" v="20"/>
        <pc:sldMkLst>
          <pc:docMk/>
          <pc:sldMk cId="433657686" sldId="3376"/>
        </pc:sldMkLst>
        <pc:spChg chg="mod">
          <ac:chgData name="Conrad Lisa" userId="b3517bd2-a51c-4a32-bf55-86699027be98" providerId="ADAL" clId="{1753DF5D-F43A-4D46-A563-64C790A8B7A4}" dt="2023-12-05T07:16:27.858" v="20"/>
          <ac:spMkLst>
            <pc:docMk/>
            <pc:sldMk cId="433657686" sldId="3376"/>
            <ac:spMk id="23" creationId="{5A84A067-75EE-9E46-9CFD-1C3839DDA58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06022642811165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.5</c:v>
                </c:pt>
                <c:pt idx="1">
                  <c:v>3.5</c:v>
                </c:pt>
                <c:pt idx="2">
                  <c:v>4.5</c:v>
                </c:pt>
                <c:pt idx="3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1-4D6B-8197-41B1EFA6BC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1.8</c:v>
                </c:pt>
                <c:pt idx="2">
                  <c:v>2.8</c:v>
                </c:pt>
                <c:pt idx="3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E1-4D6B-8197-41B1EFA6BC16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E1-4D6B-8197-41B1EFA6BC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1476717059101753"/>
          <c:w val="0.33027866326583"/>
          <c:h val="8.523282940898244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 w="25400"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0951527838443477"/>
          <c:y val="0.93270342818206864"/>
          <c:w val="0.38096930837683846"/>
          <c:h val="6.729657181793134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863243321578666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074046288118455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45483132096095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" lastClr="FFFFFF">
                <a:lumMod val="50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92926911743394036"/>
          <c:w val="1"/>
          <c:h val="5.232597459059949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437778415133058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98286866430418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4257256444385762E-2"/>
          <c:y val="0"/>
          <c:w val="0.90574274355561424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9961977935001203"/>
          <c:y val="0.93170188335119164"/>
          <c:w val="0.20076044129997594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562707021531252"/>
          <c:y val="0"/>
          <c:w val="0.85437292978468748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4603490103078127"/>
          <c:y val="0.93170188335119164"/>
          <c:w val="0.30793006310941873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0.99846872138640808"/>
          <c:h val="0.714102813664766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8A83-4C25-9860-353174E6969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8A83-4C25-9860-353174E6969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A83-4C25-9860-353174E696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239</c:v>
                </c:pt>
                <c:pt idx="1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83-4C25-9860-353174E6969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296086600"/>
        <c:axId val="296086992"/>
      </c:barChart>
      <c:catAx>
        <c:axId val="296086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6992"/>
        <c:crosses val="autoZero"/>
        <c:auto val="1"/>
        <c:lblAlgn val="ctr"/>
        <c:lblOffset val="100"/>
        <c:noMultiLvlLbl val="0"/>
      </c:catAx>
      <c:valAx>
        <c:axId val="296086992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660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413898630866467"/>
          <c:y val="0"/>
          <c:w val="0.84419762716807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32847970561251305"/>
          <c:y val="0.93625470197757832"/>
          <c:w val="0.3430405887749739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491377686721381"/>
          <c:y val="0"/>
          <c:w val="0.7370474494294559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254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254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25400">
              <a:solidFill>
                <a:srgbClr val="1796EB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21638407614400518"/>
          <c:y val="0.93625470197757832"/>
          <c:w val="0.7831805734553855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FE8F11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1195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195EB">
                  <a:lumMod val="40000"/>
                  <a:lumOff val="60000"/>
                </a:srgb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rgbClr val="5BE3D6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tx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1"/>
          <c:h val="0.747285788794926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1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D-8CA6-48D8-8B82-7B9517F24CA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5.4</c:v>
                </c:pt>
                <c:pt idx="1">
                  <c:v>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A6-48D8-8B82-7B9517F24CA7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C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5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A6-48D8-8B82-7B9517F24CA7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</c:strCache>
            </c:strRef>
          </c:tx>
          <c:spPr>
            <a:solidFill>
              <a:srgbClr val="E3E3E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B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>
                  <a:lumMod val="40000"/>
                  <a:lumOff val="6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8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0.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CA6-48D8-8B82-7B9517F24CA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7776"/>
        <c:axId val="296088168"/>
      </c:barChart>
      <c:catAx>
        <c:axId val="29608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/>
            </a:pPr>
            <a:endParaRPr lang="de-DE"/>
          </a:p>
        </c:txPr>
        <c:crossAx val="296088168"/>
        <c:crosses val="autoZero"/>
        <c:auto val="1"/>
        <c:lblAlgn val="ctr"/>
        <c:lblOffset val="100"/>
        <c:noMultiLvlLbl val="0"/>
      </c:catAx>
      <c:valAx>
        <c:axId val="29608816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777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9460905450575311"/>
          <c:w val="0.99846872138640808"/>
          <c:h val="0.623706240855479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0C8F-403A-B340-D1D481EB1E7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7-0C8F-403A-B340-D1D481EB1E7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C8F-403A-B340-D1D481EB1E7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8F-403A-B340-D1D481EB1E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7.2</c:v>
                </c:pt>
                <c:pt idx="1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8F-403A-B340-D1D481EB1E74}"/>
            </c:ext>
          </c:extLst>
        </c:ser>
        <c:ser>
          <c:idx val="1"/>
          <c:order val="1"/>
          <c:spPr>
            <a:solidFill>
              <a:srgbClr val="FF9900">
                <a:lumMod val="40000"/>
                <a:lumOff val="60000"/>
              </a:srgb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8-0C8F-403A-B340-D1D481EB1E74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1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8F-403A-B340-D1D481EB1E7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5424"/>
        <c:axId val="296085816"/>
      </c:barChart>
      <c:lineChart>
        <c:grouping val="standard"/>
        <c:varyColors val="0"/>
        <c:ser>
          <c:idx val="2"/>
          <c:order val="2"/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7.2</c:v>
                </c:pt>
                <c:pt idx="1">
                  <c:v>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C8F-403A-B340-D1D481EB1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85424"/>
        <c:axId val="296085816"/>
      </c:lineChart>
      <c:catAx>
        <c:axId val="29608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5816"/>
        <c:crosses val="autoZero"/>
        <c:auto val="1"/>
        <c:lblAlgn val="ctr"/>
        <c:lblOffset val="100"/>
        <c:noMultiLvlLbl val="0"/>
      </c:catAx>
      <c:valAx>
        <c:axId val="296085816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542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35101203658540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88360897608739786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9.9395999519304085E-2"/>
          <c:w val="1"/>
          <c:h val="0.719069590832846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Datenreihe 4</c:v>
                </c:pt>
              </c:strCache>
            </c:strRef>
          </c:tx>
          <c:spPr>
            <a:solidFill>
              <a:srgbClr val="1195EB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E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91-4B82-BC13-C9D3F806039B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Datenreihe 5</c:v>
                </c:pt>
              </c:strCache>
            </c:strRef>
          </c:tx>
          <c:spPr>
            <a:solidFill>
              <a:srgbClr val="5BE3D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F$2</c:f>
              <c:numCache>
                <c:formatCode>General</c:formatCode>
                <c:ptCount val="1"/>
                <c:pt idx="0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91-4B82-BC13-C9D3F806039B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Datenreihe 6</c:v>
                </c:pt>
              </c:strCache>
            </c:strRef>
          </c:tx>
          <c:spPr>
            <a:solidFill>
              <a:srgbClr val="5BE3D6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G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91-4B82-BC13-C9D3F806039B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Datenreihe 7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84C041"/>
              </a:solidFill>
            </c:spPr>
            <c:extLst>
              <c:ext xmlns:c16="http://schemas.microsoft.com/office/drawing/2014/chart" uri="{C3380CC4-5D6E-409C-BE32-E72D297353CC}">
                <c16:uniqueId val="{00000006-B691-4B82-BC13-C9D3F80603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H$2</c:f>
              <c:numCache>
                <c:formatCode>General</c:formatCode>
                <c:ptCount val="1"/>
                <c:pt idx="0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91-4B82-BC13-C9D3F806039B}"/>
            </c:ext>
          </c:extLst>
        </c:ser>
        <c:ser>
          <c:idx val="7"/>
          <c:order val="7"/>
          <c:tx>
            <c:strRef>
              <c:f>Tabelle1!$I$1</c:f>
              <c:strCache>
                <c:ptCount val="1"/>
                <c:pt idx="0">
                  <c:v>Datenreihe 8</c:v>
                </c:pt>
              </c:strCache>
            </c:strRef>
          </c:tx>
          <c:spPr>
            <a:solidFill>
              <a:srgbClr val="84C041">
                <a:lumMod val="40000"/>
                <a:lumOff val="60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Tabelle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Tabelle1!$I$2</c:f>
              <c:numCache>
                <c:formatCode>General</c:formatCode>
                <c:ptCount val="1"/>
                <c:pt idx="0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91-4B82-BC13-C9D3F80603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0"/>
        <c:overlap val="-1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FE8F1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1195EB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665184757435699"/>
          <c:y val="0.93170381456448037"/>
          <c:w val="0.50669616999332057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7583344130894214"/>
          <c:y val="0.93821138703999352"/>
          <c:w val="0.24833311738211569"/>
          <c:h val="6.178888883389455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05.1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05.12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333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7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440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447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418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27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63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199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8732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20EB5-88DF-4EA6-8586-32EED35EC0E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6546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679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1" name="Grafik 40">
            <a:extLst>
              <a:ext uri="{FF2B5EF4-FFF2-40B4-BE49-F238E27FC236}">
                <a16:creationId xmlns:a16="http://schemas.microsoft.com/office/drawing/2014/main" id="{598B3B17-6A4B-7491-8D21-55A1B55D62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FBAEC7B-B104-92A5-DE3D-7B9FA9B2E18D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66C2FF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297062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DFD1B8-1D4C-210D-A987-68BD33E4C7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47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4FFF43E-9254-821C-20D4-A713264C1687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3084FD0-FAE7-642B-2C16-D411823F90A2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4FC709DC-67CD-CD4A-6EF9-33228DD122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9B632AB-F036-B2C7-939F-9053E0503042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3E90575-6A64-259B-DBA6-93A89B13F513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D35F0D13-141E-CA2A-0336-010F10A5E039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EA57166-D30E-5117-3E3F-6D404E24610F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44CF96C-A745-2042-FCCC-A2114C179E3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CA7D599-1C11-C804-03D1-228667C1942F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165CE51-F2C1-923C-FF2C-D9BAE7A527A5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F4A4E37-8C1A-8F8E-6DFF-4B970B31A8F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E5E9F96-2D1C-7AE7-6892-EBE816500962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179E3E9-D485-F757-CA14-9F84A8E82204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19906D56-DF1A-BF65-9036-1DEA52A69F2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C75D36-3BA9-1CD7-C636-0DB2AB7FAF8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A23317E-56D8-C3CE-3EFA-114BDE97426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6A12DDC-B4F6-8EB4-4FB7-AB90F4E44471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F1746D5-418C-1326-5F93-08B57CD22693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C389E7-2585-4115-FC68-8A2A3C40E77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A178E18-7F9B-0DD8-16C6-0AE07D1C924A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4043195-9E58-61FB-77AB-E7AAC398DA47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7935C5D9-112D-411F-52F7-1D2E27ED507F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C8BCB33-CC5F-4FE6-4875-D8A28E139C47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264C9980-1B01-26A7-D1EA-05D68ECCDC24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5A79BF7-B4F6-CDAB-CF53-10ED2B5B0C2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87AC216-3FE3-8370-2B7B-AFA595ADFA11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2DAD762-409F-979F-AC6A-0AE05CEC64A3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27105E42-86CA-A511-3061-B78AA552E4A2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D815BA5-F412-978C-FD0A-C398F0D531F0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9A68869F-2E3E-1549-D21C-C3641887A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2397EFFB-C865-2DF5-7EEF-BF0A7E5E7B72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66C2FF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236367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tx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8109A07-6A3E-6E7E-E71E-A48639052359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29FD97B2-1BEF-B488-7137-655BCB497A23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A0BE672D-A241-5FD0-3864-AD43CF3420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1ADD0449-1CB3-D4A8-EBBF-E92F99BEACA3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0FFA099D-198F-B77B-3CE7-FA3C03A94E2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4DE632B7-7F32-C2E3-0099-17E27A26748A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E33478DB-11EC-B0DA-2E72-491E594DF6D7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34333B50-4B88-0CA8-55D2-AAD63492617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09AC026E-BE1D-E5D5-F568-957EC0EE6E68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792E977-63A9-8DBF-FBA3-FDA1408EE599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CD72E0C-A6DB-3C68-D783-262DBF2D8BA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AD8F2BD6-1545-463E-59FB-2CAC3C779F2A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5832F3F5-C872-1564-C38F-B3D1B115F05B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3149D2F-57EC-6347-1988-F6BF9881395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E7979778-9559-FD64-E31F-6393567EACA3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16CEC3C-E07A-2686-962B-C4687EA7ED3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C1522198-DE55-FA26-B8B9-1E51D889F3E7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9CDAC3DB-2DA9-4647-AED5-4B53ACBB20F5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81456A5-3DF6-C94C-1726-B1C2CAD6905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1ECE2F-164F-36C0-EFD2-0B9D3CB8A5A2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B9670F2A-0A0E-575E-3437-79D7994EA8AB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87F4B766-542B-8024-B1FE-FDD0FF9DB552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CF3A3CEF-AC10-2E4B-E5F4-D54F45675712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4F6530B-0A79-737D-C14A-785DB8BC069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51D6AC9-C866-DEC2-1980-B69CF3B5E032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776DBDD-B5F1-AC38-84CF-15464DCFAFAB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64893AF9-9182-89BA-C05B-3A3E8A80444E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63A0566D-21E0-0991-273A-3AF890133F4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74430E4-B341-CF6F-4036-220F97A28189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68" name="Grafik 67">
            <a:extLst>
              <a:ext uri="{FF2B5EF4-FFF2-40B4-BE49-F238E27FC236}">
                <a16:creationId xmlns:a16="http://schemas.microsoft.com/office/drawing/2014/main" id="{9D0D49F2-8433-CA32-9782-6D74D5049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4018696B-CC4E-181A-A473-322FE69BEA2A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7E7570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91265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431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32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12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3337" y="1844675"/>
            <a:ext cx="5400675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274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3822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64617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0957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322A26"/>
                </a:solidFill>
              </a:rPr>
              <a:t>Ein Unternehmen der EnBW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8AF3238-B5FB-5E0A-2BC1-4670DFF35B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3E95CCD-B606-D7CC-30CC-6E010A47A6D3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7E7570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376593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4644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822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82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358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304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51FC37B-19EB-B648-FFD2-22A87B3373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38475" y="404664"/>
            <a:ext cx="3046157" cy="663276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8D1928D-AAAC-296A-3475-C0CEB075901E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66C2FF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117775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A24B211-9DD6-85BC-81A7-D2A284DB45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42499" y="404664"/>
            <a:ext cx="3042133" cy="6624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7345337-7275-3C32-DFEF-E934560DE588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7E7570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59460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0601" y="2348880"/>
            <a:ext cx="6983412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600" y="6201308"/>
            <a:ext cx="4931299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3140968"/>
            <a:ext cx="3312369" cy="3312369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09274C1-EA5D-EE6C-1CBD-8365D7C2B6E7}"/>
              </a:ext>
            </a:extLst>
          </p:cNvPr>
          <p:cNvGrpSpPr/>
          <p:nvPr userDrawn="1"/>
        </p:nvGrpSpPr>
        <p:grpSpPr>
          <a:xfrm>
            <a:off x="407988" y="1354194"/>
            <a:ext cx="3235651" cy="1558770"/>
            <a:chOff x="407988" y="404813"/>
            <a:chExt cx="3838080" cy="1848989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A62E6EFE-082C-B242-46C1-6FD787967BAD}"/>
                </a:ext>
              </a:extLst>
            </p:cNvPr>
            <p:cNvSpPr/>
            <p:nvPr userDrawn="1"/>
          </p:nvSpPr>
          <p:spPr>
            <a:xfrm rot="5400000" flipH="1">
              <a:off x="407988" y="404813"/>
              <a:ext cx="1848989" cy="1848989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1CE3A4B-5FE9-00B6-FDE8-A15E98267E11}"/>
                </a:ext>
              </a:extLst>
            </p:cNvPr>
            <p:cNvGrpSpPr/>
            <p:nvPr userDrawn="1"/>
          </p:nvGrpSpPr>
          <p:grpSpPr>
            <a:xfrm flipH="1">
              <a:off x="2563002" y="487812"/>
              <a:ext cx="1683066" cy="1682991"/>
              <a:chOff x="2545959" y="2479024"/>
              <a:chExt cx="1691059" cy="1690984"/>
            </a:xfrm>
            <a:solidFill>
              <a:schemeClr val="accent4"/>
            </a:solidFill>
          </p:grpSpPr>
          <p:sp>
            <p:nvSpPr>
              <p:cNvPr id="8" name="Freihandform: Form 7">
                <a:extLst>
                  <a:ext uri="{FF2B5EF4-FFF2-40B4-BE49-F238E27FC236}">
                    <a16:creationId xmlns:a16="http://schemas.microsoft.com/office/drawing/2014/main" id="{FAC44ABB-4E91-7529-8E68-661C4FC97C65}"/>
                  </a:ext>
                </a:extLst>
              </p:cNvPr>
              <p:cNvSpPr/>
              <p:nvPr/>
            </p:nvSpPr>
            <p:spPr>
              <a:xfrm flipH="1">
                <a:off x="254595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A40E0043-DDD3-F2C4-B243-EDD7D5176374}"/>
                  </a:ext>
                </a:extLst>
              </p:cNvPr>
              <p:cNvSpPr/>
              <p:nvPr/>
            </p:nvSpPr>
            <p:spPr>
              <a:xfrm flipH="1">
                <a:off x="2545959" y="325951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8329D8E2-38CC-1BCA-CD25-7E17679135C0}"/>
                  </a:ext>
                </a:extLst>
              </p:cNvPr>
              <p:cNvSpPr/>
              <p:nvPr/>
            </p:nvSpPr>
            <p:spPr>
              <a:xfrm flipH="1">
                <a:off x="293616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42F2E9A1-BD19-B614-5610-C0273C7DC2B4}"/>
                  </a:ext>
                </a:extLst>
              </p:cNvPr>
              <p:cNvSpPr/>
              <p:nvPr/>
            </p:nvSpPr>
            <p:spPr>
              <a:xfrm flipH="1">
                <a:off x="293616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63167CB6-6086-5926-B0CF-42DC3AA6DEB9}"/>
                  </a:ext>
                </a:extLst>
              </p:cNvPr>
              <p:cNvSpPr/>
              <p:nvPr/>
            </p:nvSpPr>
            <p:spPr>
              <a:xfrm flipH="1">
                <a:off x="332645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EB23C6DA-B73A-0F01-2E3A-A5178966A002}"/>
                  </a:ext>
                </a:extLst>
              </p:cNvPr>
              <p:cNvSpPr/>
              <p:nvPr/>
            </p:nvSpPr>
            <p:spPr>
              <a:xfrm flipH="1">
                <a:off x="332645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16B9C70F-74AF-83F4-7A42-794C85E82E80}"/>
                  </a:ext>
                </a:extLst>
              </p:cNvPr>
              <p:cNvSpPr/>
              <p:nvPr/>
            </p:nvSpPr>
            <p:spPr>
              <a:xfrm flipH="1">
                <a:off x="371666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3CABAF4F-5D98-F81D-2729-E71F8A53FC09}"/>
                  </a:ext>
                </a:extLst>
              </p:cNvPr>
              <p:cNvSpPr/>
              <p:nvPr/>
            </p:nvSpPr>
            <p:spPr>
              <a:xfrm flipH="1">
                <a:off x="371666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9F6F64C7-6E04-1575-AEC9-A7690DEC468E}"/>
                  </a:ext>
                </a:extLst>
              </p:cNvPr>
              <p:cNvSpPr/>
              <p:nvPr/>
            </p:nvSpPr>
            <p:spPr>
              <a:xfrm flipH="1">
                <a:off x="410694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8351C3CE-64E4-1BA7-2664-4068BA6F1B79}"/>
                  </a:ext>
                </a:extLst>
              </p:cNvPr>
              <p:cNvSpPr/>
              <p:nvPr/>
            </p:nvSpPr>
            <p:spPr>
              <a:xfrm flipH="1">
                <a:off x="410694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DB4563F7-E561-D57A-ECBC-4EA196062E41}"/>
                  </a:ext>
                </a:extLst>
              </p:cNvPr>
              <p:cNvSpPr/>
              <p:nvPr/>
            </p:nvSpPr>
            <p:spPr>
              <a:xfrm flipH="1">
                <a:off x="254595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FC5BF26B-D0B0-1C94-2537-8F0D8F8D87B4}"/>
                  </a:ext>
                </a:extLst>
              </p:cNvPr>
              <p:cNvSpPr/>
              <p:nvPr/>
            </p:nvSpPr>
            <p:spPr>
              <a:xfrm flipH="1">
                <a:off x="254595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FD94242D-04FA-F3E9-1652-EBC1B04BB45D}"/>
                  </a:ext>
                </a:extLst>
              </p:cNvPr>
              <p:cNvSpPr/>
              <p:nvPr/>
            </p:nvSpPr>
            <p:spPr>
              <a:xfrm flipH="1">
                <a:off x="254595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8E902757-776C-1426-65BB-816CF2DDC4E5}"/>
                  </a:ext>
                </a:extLst>
              </p:cNvPr>
              <p:cNvSpPr/>
              <p:nvPr/>
            </p:nvSpPr>
            <p:spPr>
              <a:xfrm flipH="1">
                <a:off x="293616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9732A3FC-4162-EA4F-D95D-EE5FC5B23ED4}"/>
                  </a:ext>
                </a:extLst>
              </p:cNvPr>
              <p:cNvSpPr/>
              <p:nvPr/>
            </p:nvSpPr>
            <p:spPr>
              <a:xfrm flipH="1">
                <a:off x="293616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E3C14E22-3DE1-52FE-9112-66E4E9B02CF3}"/>
                  </a:ext>
                </a:extLst>
              </p:cNvPr>
              <p:cNvSpPr/>
              <p:nvPr/>
            </p:nvSpPr>
            <p:spPr>
              <a:xfrm flipH="1">
                <a:off x="293616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1EC535DE-7C09-1DE6-4BA1-BA6EAB9E1278}"/>
                  </a:ext>
                </a:extLst>
              </p:cNvPr>
              <p:cNvSpPr/>
              <p:nvPr/>
            </p:nvSpPr>
            <p:spPr>
              <a:xfrm flipH="1">
                <a:off x="332645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8565DDB4-7AB3-D4B9-FA29-B77D968E4DF8}"/>
                  </a:ext>
                </a:extLst>
              </p:cNvPr>
              <p:cNvSpPr/>
              <p:nvPr/>
            </p:nvSpPr>
            <p:spPr>
              <a:xfrm flipH="1">
                <a:off x="332645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2AA06F3-55AF-48FC-901F-48A31C328AC2}"/>
                  </a:ext>
                </a:extLst>
              </p:cNvPr>
              <p:cNvSpPr/>
              <p:nvPr/>
            </p:nvSpPr>
            <p:spPr>
              <a:xfrm flipH="1">
                <a:off x="332645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DB3D82CC-7A6F-F64D-EAD0-9BD46C06A7E1}"/>
                  </a:ext>
                </a:extLst>
              </p:cNvPr>
              <p:cNvSpPr/>
              <p:nvPr/>
            </p:nvSpPr>
            <p:spPr>
              <a:xfrm flipH="1">
                <a:off x="371666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791229D6-458F-212F-1947-0DF0B7C44E89}"/>
                  </a:ext>
                </a:extLst>
              </p:cNvPr>
              <p:cNvSpPr/>
              <p:nvPr/>
            </p:nvSpPr>
            <p:spPr>
              <a:xfrm flipH="1">
                <a:off x="371666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DB4193D6-EBCE-34A2-10E2-C0C240CB9031}"/>
                  </a:ext>
                </a:extLst>
              </p:cNvPr>
              <p:cNvSpPr/>
              <p:nvPr/>
            </p:nvSpPr>
            <p:spPr>
              <a:xfrm flipH="1">
                <a:off x="371666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37BFCC6D-8EE5-2871-462C-F423FCB22ECF}"/>
                  </a:ext>
                </a:extLst>
              </p:cNvPr>
              <p:cNvSpPr/>
              <p:nvPr/>
            </p:nvSpPr>
            <p:spPr>
              <a:xfrm flipH="1">
                <a:off x="410694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A0E6D96-9604-9062-2D22-D9CC74C32C70}"/>
                  </a:ext>
                </a:extLst>
              </p:cNvPr>
              <p:cNvSpPr/>
              <p:nvPr/>
            </p:nvSpPr>
            <p:spPr>
              <a:xfrm flipH="1">
                <a:off x="410694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1538E0A4-964E-82E7-9F87-12EDC8ABC247}"/>
                  </a:ext>
                </a:extLst>
              </p:cNvPr>
              <p:cNvSpPr/>
              <p:nvPr/>
            </p:nvSpPr>
            <p:spPr>
              <a:xfrm flipH="1">
                <a:off x="410694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3" name="Textfeld 32">
            <a:extLst>
              <a:ext uri="{FF2B5EF4-FFF2-40B4-BE49-F238E27FC236}">
                <a16:creationId xmlns:a16="http://schemas.microsoft.com/office/drawing/2014/main" id="{4469CEA0-4E13-8BEF-709E-7EF69224A60C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66C2FF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236165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0601" y="2348880"/>
            <a:ext cx="6983412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600" y="6201308"/>
            <a:ext cx="4931299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3C87739-D733-D283-4CEF-A4DC7920AE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  <p:sp>
        <p:nvSpPr>
          <p:cNvPr id="5" name="Bildplatzhalter 68">
            <a:extLst>
              <a:ext uri="{FF2B5EF4-FFF2-40B4-BE49-F238E27FC236}">
                <a16:creationId xmlns:a16="http://schemas.microsoft.com/office/drawing/2014/main" id="{D7D82DD4-ACF2-589A-0470-41C0EA36FE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3140968"/>
            <a:ext cx="3312369" cy="3312369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66F5D1D-AFB5-A943-8B25-B46634AD7390}"/>
              </a:ext>
            </a:extLst>
          </p:cNvPr>
          <p:cNvGrpSpPr/>
          <p:nvPr userDrawn="1"/>
        </p:nvGrpSpPr>
        <p:grpSpPr>
          <a:xfrm>
            <a:off x="407988" y="1354194"/>
            <a:ext cx="3235651" cy="1558770"/>
            <a:chOff x="407988" y="404813"/>
            <a:chExt cx="3838080" cy="1848989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3FF2B5D6-361C-A67F-7633-458979A36DFA}"/>
                </a:ext>
              </a:extLst>
            </p:cNvPr>
            <p:cNvSpPr/>
            <p:nvPr userDrawn="1"/>
          </p:nvSpPr>
          <p:spPr>
            <a:xfrm rot="5400000" flipH="1">
              <a:off x="407988" y="404813"/>
              <a:ext cx="1848989" cy="1848989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B5DCBDAC-9309-59F2-B89B-E901743DA540}"/>
                </a:ext>
              </a:extLst>
            </p:cNvPr>
            <p:cNvGrpSpPr/>
            <p:nvPr userDrawn="1"/>
          </p:nvGrpSpPr>
          <p:grpSpPr>
            <a:xfrm flipH="1">
              <a:off x="2563002" y="487812"/>
              <a:ext cx="1683066" cy="1682991"/>
              <a:chOff x="2545959" y="2479024"/>
              <a:chExt cx="1691059" cy="1690984"/>
            </a:xfrm>
            <a:solidFill>
              <a:schemeClr val="accent4"/>
            </a:solidFill>
          </p:grpSpPr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D7CF9A33-34A2-12D4-2679-3900468FC493}"/>
                  </a:ext>
                </a:extLst>
              </p:cNvPr>
              <p:cNvSpPr/>
              <p:nvPr/>
            </p:nvSpPr>
            <p:spPr>
              <a:xfrm flipH="1">
                <a:off x="254595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AC78044A-636E-3F51-B68A-89CBD72033BD}"/>
                  </a:ext>
                </a:extLst>
              </p:cNvPr>
              <p:cNvSpPr/>
              <p:nvPr/>
            </p:nvSpPr>
            <p:spPr>
              <a:xfrm flipH="1">
                <a:off x="2545959" y="325951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C91C58ED-E96F-219B-D418-B3A8E8D61011}"/>
                  </a:ext>
                </a:extLst>
              </p:cNvPr>
              <p:cNvSpPr/>
              <p:nvPr/>
            </p:nvSpPr>
            <p:spPr>
              <a:xfrm flipH="1">
                <a:off x="293616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32007E25-B7DD-5F6F-02CF-7A44013C81B2}"/>
                  </a:ext>
                </a:extLst>
              </p:cNvPr>
              <p:cNvSpPr/>
              <p:nvPr/>
            </p:nvSpPr>
            <p:spPr>
              <a:xfrm flipH="1">
                <a:off x="293616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E90C8B6A-6CFD-C9C1-7F7F-57E5CD3D6A95}"/>
                  </a:ext>
                </a:extLst>
              </p:cNvPr>
              <p:cNvSpPr/>
              <p:nvPr/>
            </p:nvSpPr>
            <p:spPr>
              <a:xfrm flipH="1">
                <a:off x="332645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1F28D05F-21A1-5F9B-03C8-E72E1F034CBC}"/>
                  </a:ext>
                </a:extLst>
              </p:cNvPr>
              <p:cNvSpPr/>
              <p:nvPr/>
            </p:nvSpPr>
            <p:spPr>
              <a:xfrm flipH="1">
                <a:off x="332645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B36B3C0E-09D2-BB4E-C5C5-E2432FFB0F5C}"/>
                  </a:ext>
                </a:extLst>
              </p:cNvPr>
              <p:cNvSpPr/>
              <p:nvPr/>
            </p:nvSpPr>
            <p:spPr>
              <a:xfrm flipH="1">
                <a:off x="371666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C9BA78AE-1955-2999-9727-C1C3E2049433}"/>
                  </a:ext>
                </a:extLst>
              </p:cNvPr>
              <p:cNvSpPr/>
              <p:nvPr/>
            </p:nvSpPr>
            <p:spPr>
              <a:xfrm flipH="1">
                <a:off x="371666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F0D70CA8-BCC4-2959-D51A-9C4C11629977}"/>
                  </a:ext>
                </a:extLst>
              </p:cNvPr>
              <p:cNvSpPr/>
              <p:nvPr/>
            </p:nvSpPr>
            <p:spPr>
              <a:xfrm flipH="1">
                <a:off x="410694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C36D39FE-8B50-76DB-6689-B28E9EC9FE21}"/>
                  </a:ext>
                </a:extLst>
              </p:cNvPr>
              <p:cNvSpPr/>
              <p:nvPr/>
            </p:nvSpPr>
            <p:spPr>
              <a:xfrm flipH="1">
                <a:off x="410694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C67B6BF7-9B1E-29B3-7B95-329595B871D2}"/>
                  </a:ext>
                </a:extLst>
              </p:cNvPr>
              <p:cNvSpPr/>
              <p:nvPr/>
            </p:nvSpPr>
            <p:spPr>
              <a:xfrm flipH="1">
                <a:off x="254595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67A9C1ED-A5C4-FED1-0014-5CB4D0EB1919}"/>
                  </a:ext>
                </a:extLst>
              </p:cNvPr>
              <p:cNvSpPr/>
              <p:nvPr/>
            </p:nvSpPr>
            <p:spPr>
              <a:xfrm flipH="1">
                <a:off x="254595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3354C855-E7A2-CEB2-9554-3C21F91F2AD4}"/>
                  </a:ext>
                </a:extLst>
              </p:cNvPr>
              <p:cNvSpPr/>
              <p:nvPr/>
            </p:nvSpPr>
            <p:spPr>
              <a:xfrm flipH="1">
                <a:off x="254595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FA96FAC4-8BA3-28F2-E020-CB87FABE7508}"/>
                  </a:ext>
                </a:extLst>
              </p:cNvPr>
              <p:cNvSpPr/>
              <p:nvPr/>
            </p:nvSpPr>
            <p:spPr>
              <a:xfrm flipH="1">
                <a:off x="293616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DB4520CF-04EB-CE01-36DE-EE4BCBC1EC32}"/>
                  </a:ext>
                </a:extLst>
              </p:cNvPr>
              <p:cNvSpPr/>
              <p:nvPr/>
            </p:nvSpPr>
            <p:spPr>
              <a:xfrm flipH="1">
                <a:off x="293616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91911123-BAC8-0D23-D4E2-92356FD55689}"/>
                  </a:ext>
                </a:extLst>
              </p:cNvPr>
              <p:cNvSpPr/>
              <p:nvPr/>
            </p:nvSpPr>
            <p:spPr>
              <a:xfrm flipH="1">
                <a:off x="293616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6705A05D-0233-F6C4-3247-8A770C522876}"/>
                  </a:ext>
                </a:extLst>
              </p:cNvPr>
              <p:cNvSpPr/>
              <p:nvPr/>
            </p:nvSpPr>
            <p:spPr>
              <a:xfrm flipH="1">
                <a:off x="332645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B3D22E4-2D56-8E3C-E105-B547E388CC1F}"/>
                  </a:ext>
                </a:extLst>
              </p:cNvPr>
              <p:cNvSpPr/>
              <p:nvPr/>
            </p:nvSpPr>
            <p:spPr>
              <a:xfrm flipH="1">
                <a:off x="332645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72C08947-912A-13F7-6B4D-D69DDB86163D}"/>
                  </a:ext>
                </a:extLst>
              </p:cNvPr>
              <p:cNvSpPr/>
              <p:nvPr/>
            </p:nvSpPr>
            <p:spPr>
              <a:xfrm flipH="1">
                <a:off x="332645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FECFAA1B-0787-209F-C448-F65495B80E1D}"/>
                  </a:ext>
                </a:extLst>
              </p:cNvPr>
              <p:cNvSpPr/>
              <p:nvPr/>
            </p:nvSpPr>
            <p:spPr>
              <a:xfrm flipH="1">
                <a:off x="371666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7C4CF512-27EB-D3B6-0B90-E6B33C89A7B6}"/>
                  </a:ext>
                </a:extLst>
              </p:cNvPr>
              <p:cNvSpPr/>
              <p:nvPr/>
            </p:nvSpPr>
            <p:spPr>
              <a:xfrm flipH="1">
                <a:off x="371666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061DD91E-708D-1276-8AA9-90A7F44B73A5}"/>
                  </a:ext>
                </a:extLst>
              </p:cNvPr>
              <p:cNvSpPr/>
              <p:nvPr/>
            </p:nvSpPr>
            <p:spPr>
              <a:xfrm flipH="1">
                <a:off x="371666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3DC5FBA9-6BD3-6FAD-3073-CA06C59AB27E}"/>
                  </a:ext>
                </a:extLst>
              </p:cNvPr>
              <p:cNvSpPr/>
              <p:nvPr/>
            </p:nvSpPr>
            <p:spPr>
              <a:xfrm flipH="1">
                <a:off x="410694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59EB101-39D7-B68D-50DF-F1633EE17A7B}"/>
                  </a:ext>
                </a:extLst>
              </p:cNvPr>
              <p:cNvSpPr/>
              <p:nvPr/>
            </p:nvSpPr>
            <p:spPr>
              <a:xfrm flipH="1">
                <a:off x="410694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B57EF628-FE25-C831-8588-4034739E495F}"/>
                  </a:ext>
                </a:extLst>
              </p:cNvPr>
              <p:cNvSpPr/>
              <p:nvPr/>
            </p:nvSpPr>
            <p:spPr>
              <a:xfrm flipH="1">
                <a:off x="410694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8680DDF2-FC0F-8480-9482-F7FD3F844368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7E7570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82662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0601" y="2348880"/>
            <a:ext cx="6983412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601" y="6201308"/>
            <a:ext cx="493180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70" y="1412998"/>
            <a:ext cx="3312144" cy="3312146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8484DDB-C050-167C-406E-479CFEAC7DBE}"/>
              </a:ext>
            </a:extLst>
          </p:cNvPr>
          <p:cNvGrpSpPr/>
          <p:nvPr userDrawn="1"/>
        </p:nvGrpSpPr>
        <p:grpSpPr>
          <a:xfrm>
            <a:off x="492625" y="4828944"/>
            <a:ext cx="3226887" cy="1624242"/>
            <a:chOff x="509675" y="4511210"/>
            <a:chExt cx="3858133" cy="1941977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A97E6CA7-185B-9E20-A423-DCDB0DBFD17E}"/>
                </a:ext>
              </a:extLst>
            </p:cNvPr>
            <p:cNvSpPr/>
            <p:nvPr/>
          </p:nvSpPr>
          <p:spPr>
            <a:xfrm flipH="1">
              <a:off x="2425831" y="4511210"/>
              <a:ext cx="1941977" cy="1941977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E5BD860E-7044-770E-EDB9-CB27B14A032B}"/>
                </a:ext>
              </a:extLst>
            </p:cNvPr>
            <p:cNvGrpSpPr/>
            <p:nvPr/>
          </p:nvGrpSpPr>
          <p:grpSpPr>
            <a:xfrm>
              <a:off x="509675" y="4653720"/>
              <a:ext cx="1683066" cy="1682991"/>
              <a:chOff x="2545959" y="2479024"/>
              <a:chExt cx="1691059" cy="1690984"/>
            </a:xfrm>
          </p:grpSpPr>
          <p:sp>
            <p:nvSpPr>
              <p:cNvPr id="8" name="Freihandform: Form 7">
                <a:extLst>
                  <a:ext uri="{FF2B5EF4-FFF2-40B4-BE49-F238E27FC236}">
                    <a16:creationId xmlns:a16="http://schemas.microsoft.com/office/drawing/2014/main" id="{E242765A-6CBA-3FE9-D94E-D270B21E0DE1}"/>
                  </a:ext>
                </a:extLst>
              </p:cNvPr>
              <p:cNvSpPr/>
              <p:nvPr/>
            </p:nvSpPr>
            <p:spPr>
              <a:xfrm flipH="1">
                <a:off x="254595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D81C04EB-BB20-3AB0-F128-89BEC60FA680}"/>
                  </a:ext>
                </a:extLst>
              </p:cNvPr>
              <p:cNvSpPr/>
              <p:nvPr/>
            </p:nvSpPr>
            <p:spPr>
              <a:xfrm flipH="1">
                <a:off x="2545959" y="325951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210A8B4A-DDE6-5589-4AF4-1F2B5C125472}"/>
                  </a:ext>
                </a:extLst>
              </p:cNvPr>
              <p:cNvSpPr/>
              <p:nvPr/>
            </p:nvSpPr>
            <p:spPr>
              <a:xfrm flipH="1">
                <a:off x="293616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6463A2C5-6280-019F-4221-2BE8F833F190}"/>
                  </a:ext>
                </a:extLst>
              </p:cNvPr>
              <p:cNvSpPr/>
              <p:nvPr/>
            </p:nvSpPr>
            <p:spPr>
              <a:xfrm flipH="1">
                <a:off x="293616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D7E0E2F7-6ED2-63F6-80ED-05C65CBCB2B3}"/>
                  </a:ext>
                </a:extLst>
              </p:cNvPr>
              <p:cNvSpPr/>
              <p:nvPr/>
            </p:nvSpPr>
            <p:spPr>
              <a:xfrm flipH="1">
                <a:off x="332645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3521D327-9660-41EE-7A6E-435E4DC781EC}"/>
                  </a:ext>
                </a:extLst>
              </p:cNvPr>
              <p:cNvSpPr/>
              <p:nvPr/>
            </p:nvSpPr>
            <p:spPr>
              <a:xfrm flipH="1">
                <a:off x="332645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D224A358-7425-F5BE-1C7E-6102306B90E3}"/>
                  </a:ext>
                </a:extLst>
              </p:cNvPr>
              <p:cNvSpPr/>
              <p:nvPr/>
            </p:nvSpPr>
            <p:spPr>
              <a:xfrm flipH="1">
                <a:off x="371666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457B064D-5C86-66DE-97FC-0EC4ADFA8765}"/>
                  </a:ext>
                </a:extLst>
              </p:cNvPr>
              <p:cNvSpPr/>
              <p:nvPr/>
            </p:nvSpPr>
            <p:spPr>
              <a:xfrm flipH="1">
                <a:off x="371666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1BEFDBB8-316F-CC4F-F2EF-05CF809542C3}"/>
                  </a:ext>
                </a:extLst>
              </p:cNvPr>
              <p:cNvSpPr/>
              <p:nvPr/>
            </p:nvSpPr>
            <p:spPr>
              <a:xfrm flipH="1">
                <a:off x="410694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F4F2FABD-7E09-9EFF-07AE-58BFA1D830B0}"/>
                  </a:ext>
                </a:extLst>
              </p:cNvPr>
              <p:cNvSpPr/>
              <p:nvPr/>
            </p:nvSpPr>
            <p:spPr>
              <a:xfrm flipH="1">
                <a:off x="410694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F48737B6-D89E-F867-E4EF-6C3BC0175E17}"/>
                  </a:ext>
                </a:extLst>
              </p:cNvPr>
              <p:cNvSpPr/>
              <p:nvPr/>
            </p:nvSpPr>
            <p:spPr>
              <a:xfrm flipH="1">
                <a:off x="254595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7BB5DD1F-F3B2-5BF6-C912-AD84FCA6BA18}"/>
                  </a:ext>
                </a:extLst>
              </p:cNvPr>
              <p:cNvSpPr/>
              <p:nvPr/>
            </p:nvSpPr>
            <p:spPr>
              <a:xfrm flipH="1">
                <a:off x="254595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EE7413E2-DE7A-BF30-2A29-BE135DAE1E22}"/>
                  </a:ext>
                </a:extLst>
              </p:cNvPr>
              <p:cNvSpPr/>
              <p:nvPr/>
            </p:nvSpPr>
            <p:spPr>
              <a:xfrm flipH="1">
                <a:off x="254595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3B4F13A7-7729-C238-DFE8-1106254A9298}"/>
                  </a:ext>
                </a:extLst>
              </p:cNvPr>
              <p:cNvSpPr/>
              <p:nvPr/>
            </p:nvSpPr>
            <p:spPr>
              <a:xfrm flipH="1">
                <a:off x="293616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B7B3A77D-6FED-3B3B-BB33-52C0BF2A60CB}"/>
                  </a:ext>
                </a:extLst>
              </p:cNvPr>
              <p:cNvSpPr/>
              <p:nvPr/>
            </p:nvSpPr>
            <p:spPr>
              <a:xfrm flipH="1">
                <a:off x="293616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E62EAFF1-4025-86EF-1FBA-C8B535726331}"/>
                  </a:ext>
                </a:extLst>
              </p:cNvPr>
              <p:cNvSpPr/>
              <p:nvPr/>
            </p:nvSpPr>
            <p:spPr>
              <a:xfrm flipH="1">
                <a:off x="293616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78205F6D-CD7F-338F-7719-5E56589C1377}"/>
                  </a:ext>
                </a:extLst>
              </p:cNvPr>
              <p:cNvSpPr/>
              <p:nvPr/>
            </p:nvSpPr>
            <p:spPr>
              <a:xfrm flipH="1">
                <a:off x="332645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899D6966-BC08-C1DD-EA78-A8FED7A9861A}"/>
                  </a:ext>
                </a:extLst>
              </p:cNvPr>
              <p:cNvSpPr/>
              <p:nvPr/>
            </p:nvSpPr>
            <p:spPr>
              <a:xfrm flipH="1">
                <a:off x="332645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2C003DF8-6408-FB57-002E-9C13D2C2A8A5}"/>
                  </a:ext>
                </a:extLst>
              </p:cNvPr>
              <p:cNvSpPr/>
              <p:nvPr/>
            </p:nvSpPr>
            <p:spPr>
              <a:xfrm flipH="1">
                <a:off x="332645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88ACAC2A-F14C-41BB-D1EC-E2C000DB6E3F}"/>
                  </a:ext>
                </a:extLst>
              </p:cNvPr>
              <p:cNvSpPr/>
              <p:nvPr/>
            </p:nvSpPr>
            <p:spPr>
              <a:xfrm flipH="1">
                <a:off x="371666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1AC5D730-E14C-F7D3-979E-6EDF622DB3DE}"/>
                  </a:ext>
                </a:extLst>
              </p:cNvPr>
              <p:cNvSpPr/>
              <p:nvPr/>
            </p:nvSpPr>
            <p:spPr>
              <a:xfrm flipH="1">
                <a:off x="371666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D070925A-0A6A-F522-282E-1A808883E364}"/>
                  </a:ext>
                </a:extLst>
              </p:cNvPr>
              <p:cNvSpPr/>
              <p:nvPr/>
            </p:nvSpPr>
            <p:spPr>
              <a:xfrm flipH="1">
                <a:off x="371666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25D8C693-DAF1-3F9D-5A56-B9A227ADA17F}"/>
                  </a:ext>
                </a:extLst>
              </p:cNvPr>
              <p:cNvSpPr/>
              <p:nvPr/>
            </p:nvSpPr>
            <p:spPr>
              <a:xfrm flipH="1">
                <a:off x="410694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B0D700F-845C-69DF-0C76-DB65836D54E1}"/>
                  </a:ext>
                </a:extLst>
              </p:cNvPr>
              <p:cNvSpPr/>
              <p:nvPr/>
            </p:nvSpPr>
            <p:spPr>
              <a:xfrm flipH="1">
                <a:off x="410694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D1D937DF-D0EC-2B03-D51E-026E91311CEC}"/>
                  </a:ext>
                </a:extLst>
              </p:cNvPr>
              <p:cNvSpPr/>
              <p:nvPr/>
            </p:nvSpPr>
            <p:spPr>
              <a:xfrm flipH="1">
                <a:off x="410694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3" name="Textfeld 32">
            <a:extLst>
              <a:ext uri="{FF2B5EF4-FFF2-40B4-BE49-F238E27FC236}">
                <a16:creationId xmlns:a16="http://schemas.microsoft.com/office/drawing/2014/main" id="{BA5C1A1D-C472-7E4B-094B-987AB372DA85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66C2FF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313600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0601" y="2348880"/>
            <a:ext cx="6983412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601" y="6201308"/>
            <a:ext cx="493180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6042539-2267-AAE1-61A5-708283B4F0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  <p:sp>
        <p:nvSpPr>
          <p:cNvPr id="5" name="Bildplatzhalter 91">
            <a:extLst>
              <a:ext uri="{FF2B5EF4-FFF2-40B4-BE49-F238E27FC236}">
                <a16:creationId xmlns:a16="http://schemas.microsoft.com/office/drawing/2014/main" id="{03B8E249-4B7D-5081-56E5-B766AE04A5D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70" y="1412998"/>
            <a:ext cx="3312144" cy="3312146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C307B06-3C38-1E19-5298-6BD23A37009D}"/>
              </a:ext>
            </a:extLst>
          </p:cNvPr>
          <p:cNvGrpSpPr/>
          <p:nvPr userDrawn="1"/>
        </p:nvGrpSpPr>
        <p:grpSpPr>
          <a:xfrm>
            <a:off x="492625" y="4828944"/>
            <a:ext cx="3226887" cy="1624242"/>
            <a:chOff x="509675" y="4511210"/>
            <a:chExt cx="3858133" cy="1941977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359BD9AA-C34E-650E-FB83-5B93D1A8C834}"/>
                </a:ext>
              </a:extLst>
            </p:cNvPr>
            <p:cNvSpPr/>
            <p:nvPr/>
          </p:nvSpPr>
          <p:spPr>
            <a:xfrm flipH="1">
              <a:off x="2425831" y="4511210"/>
              <a:ext cx="1941977" cy="1941977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15842FAC-C3DE-3CB2-043E-B3FC685488F1}"/>
                </a:ext>
              </a:extLst>
            </p:cNvPr>
            <p:cNvGrpSpPr/>
            <p:nvPr/>
          </p:nvGrpSpPr>
          <p:grpSpPr>
            <a:xfrm>
              <a:off x="509675" y="4653720"/>
              <a:ext cx="1683066" cy="1682991"/>
              <a:chOff x="2545959" y="2479024"/>
              <a:chExt cx="1691059" cy="1690984"/>
            </a:xfrm>
          </p:grpSpPr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06BEF4FC-9C89-BC41-45F0-705A8BAF7BCB}"/>
                  </a:ext>
                </a:extLst>
              </p:cNvPr>
              <p:cNvSpPr/>
              <p:nvPr/>
            </p:nvSpPr>
            <p:spPr>
              <a:xfrm flipH="1">
                <a:off x="254595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85ED4BD8-620B-7D75-9B4A-780B3F305777}"/>
                  </a:ext>
                </a:extLst>
              </p:cNvPr>
              <p:cNvSpPr/>
              <p:nvPr/>
            </p:nvSpPr>
            <p:spPr>
              <a:xfrm flipH="1">
                <a:off x="2545959" y="325951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A092102B-5707-7701-D45D-7E76AD6D01B0}"/>
                  </a:ext>
                </a:extLst>
              </p:cNvPr>
              <p:cNvSpPr/>
              <p:nvPr/>
            </p:nvSpPr>
            <p:spPr>
              <a:xfrm flipH="1">
                <a:off x="293616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780DC00E-E002-EC39-658B-62BBDCADFA51}"/>
                  </a:ext>
                </a:extLst>
              </p:cNvPr>
              <p:cNvSpPr/>
              <p:nvPr/>
            </p:nvSpPr>
            <p:spPr>
              <a:xfrm flipH="1">
                <a:off x="293616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3DBF439F-DB6B-78CC-E981-9DC5882911DD}"/>
                  </a:ext>
                </a:extLst>
              </p:cNvPr>
              <p:cNvSpPr/>
              <p:nvPr/>
            </p:nvSpPr>
            <p:spPr>
              <a:xfrm flipH="1">
                <a:off x="332645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511B1281-FBC2-7265-10D6-CA7DF38C146B}"/>
                  </a:ext>
                </a:extLst>
              </p:cNvPr>
              <p:cNvSpPr/>
              <p:nvPr/>
            </p:nvSpPr>
            <p:spPr>
              <a:xfrm flipH="1">
                <a:off x="332645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4C540A66-269D-7025-A14B-27558570BA76}"/>
                  </a:ext>
                </a:extLst>
              </p:cNvPr>
              <p:cNvSpPr/>
              <p:nvPr/>
            </p:nvSpPr>
            <p:spPr>
              <a:xfrm flipH="1">
                <a:off x="371666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70E3401D-45BC-6ADA-D1CB-4BDE4161F64C}"/>
                  </a:ext>
                </a:extLst>
              </p:cNvPr>
              <p:cNvSpPr/>
              <p:nvPr/>
            </p:nvSpPr>
            <p:spPr>
              <a:xfrm flipH="1">
                <a:off x="371666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33B70663-2703-FF17-C55D-855D07869346}"/>
                  </a:ext>
                </a:extLst>
              </p:cNvPr>
              <p:cNvSpPr/>
              <p:nvPr/>
            </p:nvSpPr>
            <p:spPr>
              <a:xfrm flipH="1">
                <a:off x="410694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2B2F6236-9E25-2E8C-D7C6-B788FE9DCF43}"/>
                  </a:ext>
                </a:extLst>
              </p:cNvPr>
              <p:cNvSpPr/>
              <p:nvPr/>
            </p:nvSpPr>
            <p:spPr>
              <a:xfrm flipH="1">
                <a:off x="410694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C10E5AE-4955-9B5F-FB18-D42C723C04FF}"/>
                  </a:ext>
                </a:extLst>
              </p:cNvPr>
              <p:cNvSpPr/>
              <p:nvPr/>
            </p:nvSpPr>
            <p:spPr>
              <a:xfrm flipH="1">
                <a:off x="254595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EBE8B259-84A3-D179-DD63-8EC3B23BFD18}"/>
                  </a:ext>
                </a:extLst>
              </p:cNvPr>
              <p:cNvSpPr/>
              <p:nvPr/>
            </p:nvSpPr>
            <p:spPr>
              <a:xfrm flipH="1">
                <a:off x="254595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732C553F-EC33-0F49-7491-5F9C882C7189}"/>
                  </a:ext>
                </a:extLst>
              </p:cNvPr>
              <p:cNvSpPr/>
              <p:nvPr/>
            </p:nvSpPr>
            <p:spPr>
              <a:xfrm flipH="1">
                <a:off x="254595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08FCC47A-D32E-6B9F-9949-157F72952F8A}"/>
                  </a:ext>
                </a:extLst>
              </p:cNvPr>
              <p:cNvSpPr/>
              <p:nvPr/>
            </p:nvSpPr>
            <p:spPr>
              <a:xfrm flipH="1">
                <a:off x="293616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A720F15D-C4D2-461A-7728-3C1788D690C5}"/>
                  </a:ext>
                </a:extLst>
              </p:cNvPr>
              <p:cNvSpPr/>
              <p:nvPr/>
            </p:nvSpPr>
            <p:spPr>
              <a:xfrm flipH="1">
                <a:off x="293616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984AA466-AC0F-A612-5373-AC1A4CE6D199}"/>
                  </a:ext>
                </a:extLst>
              </p:cNvPr>
              <p:cNvSpPr/>
              <p:nvPr/>
            </p:nvSpPr>
            <p:spPr>
              <a:xfrm flipH="1">
                <a:off x="293616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EFF8ADF8-287D-2798-C05B-5A0D6AC08BC0}"/>
                  </a:ext>
                </a:extLst>
              </p:cNvPr>
              <p:cNvSpPr/>
              <p:nvPr/>
            </p:nvSpPr>
            <p:spPr>
              <a:xfrm flipH="1">
                <a:off x="332645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E8D7919A-62C0-24DD-2DCB-0ECDE499F486}"/>
                  </a:ext>
                </a:extLst>
              </p:cNvPr>
              <p:cNvSpPr/>
              <p:nvPr/>
            </p:nvSpPr>
            <p:spPr>
              <a:xfrm flipH="1">
                <a:off x="332645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CE5D16AF-9FC0-2A6F-6999-9CB3CA649787}"/>
                  </a:ext>
                </a:extLst>
              </p:cNvPr>
              <p:cNvSpPr/>
              <p:nvPr/>
            </p:nvSpPr>
            <p:spPr>
              <a:xfrm flipH="1">
                <a:off x="332645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697F7ACE-F39E-E917-F9E3-BD416A7DDCC9}"/>
                  </a:ext>
                </a:extLst>
              </p:cNvPr>
              <p:cNvSpPr/>
              <p:nvPr/>
            </p:nvSpPr>
            <p:spPr>
              <a:xfrm flipH="1">
                <a:off x="371666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A7917CEB-0452-B98F-87BA-98A20D8740F2}"/>
                  </a:ext>
                </a:extLst>
              </p:cNvPr>
              <p:cNvSpPr/>
              <p:nvPr/>
            </p:nvSpPr>
            <p:spPr>
              <a:xfrm flipH="1">
                <a:off x="371666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044A4DC2-C74E-9FFF-0A9F-68B25E081374}"/>
                  </a:ext>
                </a:extLst>
              </p:cNvPr>
              <p:cNvSpPr/>
              <p:nvPr/>
            </p:nvSpPr>
            <p:spPr>
              <a:xfrm flipH="1">
                <a:off x="371666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E9F88C55-BF0C-D16C-1496-FFD2F116127B}"/>
                  </a:ext>
                </a:extLst>
              </p:cNvPr>
              <p:cNvSpPr/>
              <p:nvPr/>
            </p:nvSpPr>
            <p:spPr>
              <a:xfrm flipH="1">
                <a:off x="410694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E379BD37-8785-DE47-0627-CF6DE1804FAC}"/>
                  </a:ext>
                </a:extLst>
              </p:cNvPr>
              <p:cNvSpPr/>
              <p:nvPr/>
            </p:nvSpPr>
            <p:spPr>
              <a:xfrm flipH="1">
                <a:off x="410694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45FF1BFF-D429-D579-80BA-208A943FFF69}"/>
                  </a:ext>
                </a:extLst>
              </p:cNvPr>
              <p:cNvSpPr/>
              <p:nvPr/>
            </p:nvSpPr>
            <p:spPr>
              <a:xfrm flipH="1">
                <a:off x="410694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solidFill>
                <a:srgbClr val="1195E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506EFEFC-380B-6CB5-F7CC-CA4176F30B45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7E7570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171591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0601" y="2348880"/>
            <a:ext cx="6983412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600" y="6201308"/>
            <a:ext cx="4931299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3153541"/>
            <a:ext cx="3312145" cy="3312143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3FFBD69-E332-A873-7ED7-EBF8E7CC252E}"/>
              </a:ext>
            </a:extLst>
          </p:cNvPr>
          <p:cNvGrpSpPr/>
          <p:nvPr userDrawn="1"/>
        </p:nvGrpSpPr>
        <p:grpSpPr>
          <a:xfrm>
            <a:off x="407887" y="1396173"/>
            <a:ext cx="3210296" cy="1546555"/>
            <a:chOff x="407988" y="404813"/>
            <a:chExt cx="3838080" cy="1848989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C0DC043-1123-BEE5-AB10-4F0D0A0295E8}"/>
                </a:ext>
              </a:extLst>
            </p:cNvPr>
            <p:cNvSpPr/>
            <p:nvPr userDrawn="1"/>
          </p:nvSpPr>
          <p:spPr>
            <a:xfrm rot="5400000" flipH="1">
              <a:off x="407988" y="404813"/>
              <a:ext cx="1848989" cy="1848989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A0BFE8C9-F279-61CA-96E8-286199F802A5}"/>
                </a:ext>
              </a:extLst>
            </p:cNvPr>
            <p:cNvGrpSpPr/>
            <p:nvPr userDrawn="1"/>
          </p:nvGrpSpPr>
          <p:grpSpPr>
            <a:xfrm flipH="1">
              <a:off x="2563002" y="487812"/>
              <a:ext cx="1683066" cy="1682991"/>
              <a:chOff x="2545959" y="2479024"/>
              <a:chExt cx="1691059" cy="1690984"/>
            </a:xfrm>
            <a:solidFill>
              <a:schemeClr val="accent4"/>
            </a:solidFill>
          </p:grpSpPr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E4B4FBD8-094C-98C0-A0CA-AB4FA3CE75D0}"/>
                  </a:ext>
                </a:extLst>
              </p:cNvPr>
              <p:cNvSpPr/>
              <p:nvPr/>
            </p:nvSpPr>
            <p:spPr>
              <a:xfrm flipH="1">
                <a:off x="254595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5263EAEB-9DFB-D64F-B7F7-DF610E361406}"/>
                  </a:ext>
                </a:extLst>
              </p:cNvPr>
              <p:cNvSpPr/>
              <p:nvPr/>
            </p:nvSpPr>
            <p:spPr>
              <a:xfrm flipH="1">
                <a:off x="2545959" y="325951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4059F163-80ED-2BEA-5C9B-CA6C1E020C70}"/>
                  </a:ext>
                </a:extLst>
              </p:cNvPr>
              <p:cNvSpPr/>
              <p:nvPr/>
            </p:nvSpPr>
            <p:spPr>
              <a:xfrm flipH="1">
                <a:off x="293616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9E776513-DD3F-711B-2507-8CF18EEB406C}"/>
                  </a:ext>
                </a:extLst>
              </p:cNvPr>
              <p:cNvSpPr/>
              <p:nvPr/>
            </p:nvSpPr>
            <p:spPr>
              <a:xfrm flipH="1">
                <a:off x="293616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0CF36980-17BC-5C2E-D73C-3EE1FD10C554}"/>
                  </a:ext>
                </a:extLst>
              </p:cNvPr>
              <p:cNvSpPr/>
              <p:nvPr/>
            </p:nvSpPr>
            <p:spPr>
              <a:xfrm flipH="1">
                <a:off x="332645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1E0C098D-AFB1-934A-1474-D134545D9B12}"/>
                  </a:ext>
                </a:extLst>
              </p:cNvPr>
              <p:cNvSpPr/>
              <p:nvPr/>
            </p:nvSpPr>
            <p:spPr>
              <a:xfrm flipH="1">
                <a:off x="332645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7E92E6D1-87F5-D6F4-8690-97D76E9F33FC}"/>
                  </a:ext>
                </a:extLst>
              </p:cNvPr>
              <p:cNvSpPr/>
              <p:nvPr/>
            </p:nvSpPr>
            <p:spPr>
              <a:xfrm flipH="1">
                <a:off x="371666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4032870D-42E2-9883-F65C-A69F5B40961D}"/>
                  </a:ext>
                </a:extLst>
              </p:cNvPr>
              <p:cNvSpPr/>
              <p:nvPr/>
            </p:nvSpPr>
            <p:spPr>
              <a:xfrm flipH="1">
                <a:off x="371666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77B91559-0E15-6F35-F0EA-4258D71F3AF6}"/>
                  </a:ext>
                </a:extLst>
              </p:cNvPr>
              <p:cNvSpPr/>
              <p:nvPr/>
            </p:nvSpPr>
            <p:spPr>
              <a:xfrm flipH="1">
                <a:off x="410694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09FBE198-0A52-0760-08BE-DDCBA7D2E582}"/>
                  </a:ext>
                </a:extLst>
              </p:cNvPr>
              <p:cNvSpPr/>
              <p:nvPr/>
            </p:nvSpPr>
            <p:spPr>
              <a:xfrm flipH="1">
                <a:off x="410694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9F09197-B293-275E-A915-AB1D4CCDDDAA}"/>
                  </a:ext>
                </a:extLst>
              </p:cNvPr>
              <p:cNvSpPr/>
              <p:nvPr/>
            </p:nvSpPr>
            <p:spPr>
              <a:xfrm flipH="1">
                <a:off x="254595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6F83F27D-1668-87F8-DD06-C4AA33BC390C}"/>
                  </a:ext>
                </a:extLst>
              </p:cNvPr>
              <p:cNvSpPr/>
              <p:nvPr/>
            </p:nvSpPr>
            <p:spPr>
              <a:xfrm flipH="1">
                <a:off x="254595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806DFB10-ACC4-2AF6-32AD-0034F350955E}"/>
                  </a:ext>
                </a:extLst>
              </p:cNvPr>
              <p:cNvSpPr/>
              <p:nvPr/>
            </p:nvSpPr>
            <p:spPr>
              <a:xfrm flipH="1">
                <a:off x="254595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7FA0E55D-B6B1-1919-C2A1-59FD39F2AED9}"/>
                  </a:ext>
                </a:extLst>
              </p:cNvPr>
              <p:cNvSpPr/>
              <p:nvPr/>
            </p:nvSpPr>
            <p:spPr>
              <a:xfrm flipH="1">
                <a:off x="293616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3CB197F5-7220-8BC3-C147-B2CAE7667C5B}"/>
                  </a:ext>
                </a:extLst>
              </p:cNvPr>
              <p:cNvSpPr/>
              <p:nvPr/>
            </p:nvSpPr>
            <p:spPr>
              <a:xfrm flipH="1">
                <a:off x="293616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8C3E9AF9-4943-B946-5B71-31074C7A7166}"/>
                  </a:ext>
                </a:extLst>
              </p:cNvPr>
              <p:cNvSpPr/>
              <p:nvPr/>
            </p:nvSpPr>
            <p:spPr>
              <a:xfrm flipH="1">
                <a:off x="293616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60CF7EF3-7A7A-F367-F6E8-AE7AC1194809}"/>
                  </a:ext>
                </a:extLst>
              </p:cNvPr>
              <p:cNvSpPr/>
              <p:nvPr/>
            </p:nvSpPr>
            <p:spPr>
              <a:xfrm flipH="1">
                <a:off x="332645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175EC5FB-B1DA-BEB5-2BD1-E63B0F160C29}"/>
                  </a:ext>
                </a:extLst>
              </p:cNvPr>
              <p:cNvSpPr/>
              <p:nvPr/>
            </p:nvSpPr>
            <p:spPr>
              <a:xfrm flipH="1">
                <a:off x="332645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DA1AE7E3-B89D-B242-3075-102CCCD8A431}"/>
                  </a:ext>
                </a:extLst>
              </p:cNvPr>
              <p:cNvSpPr/>
              <p:nvPr/>
            </p:nvSpPr>
            <p:spPr>
              <a:xfrm flipH="1">
                <a:off x="332645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6F0EE607-C183-0214-3CC3-F6D0C1EEC968}"/>
                  </a:ext>
                </a:extLst>
              </p:cNvPr>
              <p:cNvSpPr/>
              <p:nvPr/>
            </p:nvSpPr>
            <p:spPr>
              <a:xfrm flipH="1">
                <a:off x="371666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AD198CFC-F18F-9141-A4BC-6553F6534648}"/>
                  </a:ext>
                </a:extLst>
              </p:cNvPr>
              <p:cNvSpPr/>
              <p:nvPr/>
            </p:nvSpPr>
            <p:spPr>
              <a:xfrm flipH="1">
                <a:off x="371666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160D7EE5-27AF-A3A4-19B7-E2E7A5918EE3}"/>
                  </a:ext>
                </a:extLst>
              </p:cNvPr>
              <p:cNvSpPr/>
              <p:nvPr/>
            </p:nvSpPr>
            <p:spPr>
              <a:xfrm flipH="1">
                <a:off x="371666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4E77E601-856C-B09C-99C1-09E2170979C4}"/>
                  </a:ext>
                </a:extLst>
              </p:cNvPr>
              <p:cNvSpPr/>
              <p:nvPr/>
            </p:nvSpPr>
            <p:spPr>
              <a:xfrm flipH="1">
                <a:off x="410694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EA66C7F-1843-1B4F-C280-2DBA2D2767D7}"/>
                  </a:ext>
                </a:extLst>
              </p:cNvPr>
              <p:cNvSpPr/>
              <p:nvPr/>
            </p:nvSpPr>
            <p:spPr>
              <a:xfrm flipH="1">
                <a:off x="410694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B111E0D3-1A68-C181-39D5-C35A3D786F41}"/>
                  </a:ext>
                </a:extLst>
              </p:cNvPr>
              <p:cNvSpPr/>
              <p:nvPr/>
            </p:nvSpPr>
            <p:spPr>
              <a:xfrm flipH="1">
                <a:off x="410694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id="{8E44BB7D-7CAC-3F41-1231-50224A7A1234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66C2FF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214693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0601" y="2348880"/>
            <a:ext cx="6983412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600" y="6201308"/>
            <a:ext cx="4931299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 dirty="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CDC6DBA-4F42-B00E-0C5E-1D5BA0655B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  <p:sp>
        <p:nvSpPr>
          <p:cNvPr id="6" name="Bildplatzhalter 4">
            <a:extLst>
              <a:ext uri="{FF2B5EF4-FFF2-40B4-BE49-F238E27FC236}">
                <a16:creationId xmlns:a16="http://schemas.microsoft.com/office/drawing/2014/main" id="{FC388F30-8B3B-0C08-ADB5-128BA20785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3153541"/>
            <a:ext cx="3312145" cy="3312143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1D3EC43-9B95-ABD6-996C-334206472D68}"/>
              </a:ext>
            </a:extLst>
          </p:cNvPr>
          <p:cNvGrpSpPr/>
          <p:nvPr userDrawn="1"/>
        </p:nvGrpSpPr>
        <p:grpSpPr>
          <a:xfrm>
            <a:off x="407887" y="1396173"/>
            <a:ext cx="3210296" cy="1546555"/>
            <a:chOff x="407988" y="404813"/>
            <a:chExt cx="3838080" cy="1848989"/>
          </a:xfrm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DC339EB3-C091-C9FD-AFD0-6D3BE01E9C8B}"/>
                </a:ext>
              </a:extLst>
            </p:cNvPr>
            <p:cNvSpPr/>
            <p:nvPr userDrawn="1"/>
          </p:nvSpPr>
          <p:spPr>
            <a:xfrm rot="5400000" flipH="1">
              <a:off x="407988" y="404813"/>
              <a:ext cx="1848989" cy="1848989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59C0CB85-5CD0-A857-B448-CC740A61B8D0}"/>
                </a:ext>
              </a:extLst>
            </p:cNvPr>
            <p:cNvGrpSpPr/>
            <p:nvPr userDrawn="1"/>
          </p:nvGrpSpPr>
          <p:grpSpPr>
            <a:xfrm flipH="1">
              <a:off x="2563002" y="487812"/>
              <a:ext cx="1683066" cy="1682991"/>
              <a:chOff x="2545959" y="2479024"/>
              <a:chExt cx="1691059" cy="1690984"/>
            </a:xfrm>
            <a:solidFill>
              <a:schemeClr val="accent4"/>
            </a:solidFill>
          </p:grpSpPr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D67F25D5-B2AF-1014-1D28-73888A8499C1}"/>
                  </a:ext>
                </a:extLst>
              </p:cNvPr>
              <p:cNvSpPr/>
              <p:nvPr/>
            </p:nvSpPr>
            <p:spPr>
              <a:xfrm flipH="1">
                <a:off x="254595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69578148-A34C-8358-3721-7EF10A129FE7}"/>
                  </a:ext>
                </a:extLst>
              </p:cNvPr>
              <p:cNvSpPr/>
              <p:nvPr/>
            </p:nvSpPr>
            <p:spPr>
              <a:xfrm flipH="1">
                <a:off x="2545959" y="325951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4F436FA5-CF11-FD14-82DF-49A0C2F79DB7}"/>
                  </a:ext>
                </a:extLst>
              </p:cNvPr>
              <p:cNvSpPr/>
              <p:nvPr/>
            </p:nvSpPr>
            <p:spPr>
              <a:xfrm flipH="1">
                <a:off x="293616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9E75ED57-4E85-BABF-33CB-357DF59D6F70}"/>
                  </a:ext>
                </a:extLst>
              </p:cNvPr>
              <p:cNvSpPr/>
              <p:nvPr/>
            </p:nvSpPr>
            <p:spPr>
              <a:xfrm flipH="1">
                <a:off x="293616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ADD073AB-CD19-98B0-9B46-F351FC1465AD}"/>
                  </a:ext>
                </a:extLst>
              </p:cNvPr>
              <p:cNvSpPr/>
              <p:nvPr/>
            </p:nvSpPr>
            <p:spPr>
              <a:xfrm flipH="1">
                <a:off x="332645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285C3017-F627-D790-2C5F-9032156C90C9}"/>
                  </a:ext>
                </a:extLst>
              </p:cNvPr>
              <p:cNvSpPr/>
              <p:nvPr/>
            </p:nvSpPr>
            <p:spPr>
              <a:xfrm flipH="1">
                <a:off x="332645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3D2B9ACD-502D-1B55-FD62-261435C773EC}"/>
                  </a:ext>
                </a:extLst>
              </p:cNvPr>
              <p:cNvSpPr/>
              <p:nvPr/>
            </p:nvSpPr>
            <p:spPr>
              <a:xfrm flipH="1">
                <a:off x="3716664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D49822ED-9DD3-BF74-2133-EB12C22CD394}"/>
                  </a:ext>
                </a:extLst>
              </p:cNvPr>
              <p:cNvSpPr/>
              <p:nvPr/>
            </p:nvSpPr>
            <p:spPr>
              <a:xfrm flipH="1">
                <a:off x="3716664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D1BE9366-6250-EFB1-D746-FE9CE92E0F7A}"/>
                  </a:ext>
                </a:extLst>
              </p:cNvPr>
              <p:cNvSpPr/>
              <p:nvPr/>
            </p:nvSpPr>
            <p:spPr>
              <a:xfrm flipH="1">
                <a:off x="4106949" y="247902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705A9F3-B863-C702-295D-74021A2AA3CD}"/>
                  </a:ext>
                </a:extLst>
              </p:cNvPr>
              <p:cNvSpPr/>
              <p:nvPr/>
            </p:nvSpPr>
            <p:spPr>
              <a:xfrm flipH="1">
                <a:off x="4106949" y="3259443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93B1F993-14AD-8B8E-4515-D56683FE449D}"/>
                  </a:ext>
                </a:extLst>
              </p:cNvPr>
              <p:cNvSpPr/>
              <p:nvPr/>
            </p:nvSpPr>
            <p:spPr>
              <a:xfrm flipH="1">
                <a:off x="254595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74E057AB-971B-F47B-56E8-DB8BFA125AEB}"/>
                  </a:ext>
                </a:extLst>
              </p:cNvPr>
              <p:cNvSpPr/>
              <p:nvPr/>
            </p:nvSpPr>
            <p:spPr>
              <a:xfrm flipH="1">
                <a:off x="254595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BB3B733E-07F9-7001-4F98-1E690A153DFA}"/>
                  </a:ext>
                </a:extLst>
              </p:cNvPr>
              <p:cNvSpPr/>
              <p:nvPr/>
            </p:nvSpPr>
            <p:spPr>
              <a:xfrm flipH="1">
                <a:off x="254595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F9DA3BE0-05D0-0921-849A-DB6659068366}"/>
                  </a:ext>
                </a:extLst>
              </p:cNvPr>
              <p:cNvSpPr/>
              <p:nvPr/>
            </p:nvSpPr>
            <p:spPr>
              <a:xfrm flipH="1">
                <a:off x="293616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790E7549-4C74-F048-0BD2-4DDD8A19D7B9}"/>
                  </a:ext>
                </a:extLst>
              </p:cNvPr>
              <p:cNvSpPr/>
              <p:nvPr/>
            </p:nvSpPr>
            <p:spPr>
              <a:xfrm flipH="1">
                <a:off x="293616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E20A36A7-F78A-20A7-E038-11453C514AC5}"/>
                  </a:ext>
                </a:extLst>
              </p:cNvPr>
              <p:cNvSpPr/>
              <p:nvPr/>
            </p:nvSpPr>
            <p:spPr>
              <a:xfrm flipH="1">
                <a:off x="293616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39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39" y="126968"/>
                      <a:pt x="163639" y="81820"/>
                    </a:cubicBezTo>
                    <a:cubicBezTo>
                      <a:pt x="163639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B58318AA-7F76-BE3C-700A-4CAAEF3710D1}"/>
                  </a:ext>
                </a:extLst>
              </p:cNvPr>
              <p:cNvSpPr/>
              <p:nvPr/>
            </p:nvSpPr>
            <p:spPr>
              <a:xfrm flipH="1">
                <a:off x="332645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E1D65285-A490-4C33-FC3B-96131F637DA4}"/>
                  </a:ext>
                </a:extLst>
              </p:cNvPr>
              <p:cNvSpPr/>
              <p:nvPr/>
            </p:nvSpPr>
            <p:spPr>
              <a:xfrm flipH="1">
                <a:off x="332645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C5BAAF05-35C0-7C93-F55A-AC21E05962F2}"/>
                  </a:ext>
                </a:extLst>
              </p:cNvPr>
              <p:cNvSpPr/>
              <p:nvPr/>
            </p:nvSpPr>
            <p:spPr>
              <a:xfrm flipH="1">
                <a:off x="332645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2F4FA53-CD84-25F4-ECA9-9B5BB5F728A3}"/>
                  </a:ext>
                </a:extLst>
              </p:cNvPr>
              <p:cNvSpPr/>
              <p:nvPr/>
            </p:nvSpPr>
            <p:spPr>
              <a:xfrm flipH="1">
                <a:off x="3716664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37830455-25F9-6378-90CB-0E66A7F4E94F}"/>
                  </a:ext>
                </a:extLst>
              </p:cNvPr>
              <p:cNvSpPr/>
              <p:nvPr/>
            </p:nvSpPr>
            <p:spPr>
              <a:xfrm flipH="1">
                <a:off x="3716664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8B09EB7-6392-12AE-EB42-1BBD98DAE204}"/>
                  </a:ext>
                </a:extLst>
              </p:cNvPr>
              <p:cNvSpPr/>
              <p:nvPr/>
            </p:nvSpPr>
            <p:spPr>
              <a:xfrm flipH="1">
                <a:off x="3716664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FCE53C18-896B-110F-152F-D666F1EBD786}"/>
                  </a:ext>
                </a:extLst>
              </p:cNvPr>
              <p:cNvSpPr/>
              <p:nvPr/>
            </p:nvSpPr>
            <p:spPr>
              <a:xfrm flipH="1">
                <a:off x="4106949" y="2869234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40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40"/>
                      <a:pt x="81820" y="163640"/>
                    </a:cubicBezTo>
                    <a:cubicBezTo>
                      <a:pt x="126968" y="163640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FE2B9BE7-D15E-83BE-ED63-69300D95BF2A}"/>
                  </a:ext>
                </a:extLst>
              </p:cNvPr>
              <p:cNvSpPr/>
              <p:nvPr/>
            </p:nvSpPr>
            <p:spPr>
              <a:xfrm flipH="1">
                <a:off x="4106949" y="364972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143C8A06-60F1-7C63-E067-08A11318DD76}"/>
                  </a:ext>
                </a:extLst>
              </p:cNvPr>
              <p:cNvSpPr/>
              <p:nvPr/>
            </p:nvSpPr>
            <p:spPr>
              <a:xfrm flipH="1">
                <a:off x="4106949" y="4039939"/>
                <a:ext cx="130069" cy="130069"/>
              </a:xfrm>
              <a:custGeom>
                <a:avLst/>
                <a:gdLst>
                  <a:gd name="connsiteX0" fmla="*/ 0 w 163639"/>
                  <a:gd name="connsiteY0" fmla="*/ 81820 h 163639"/>
                  <a:gd name="connsiteX1" fmla="*/ 81820 w 163639"/>
                  <a:gd name="connsiteY1" fmla="*/ 163639 h 163639"/>
                  <a:gd name="connsiteX2" fmla="*/ 163640 w 163639"/>
                  <a:gd name="connsiteY2" fmla="*/ 81820 h 163639"/>
                  <a:gd name="connsiteX3" fmla="*/ 81820 w 163639"/>
                  <a:gd name="connsiteY3" fmla="*/ 0 h 163639"/>
                  <a:gd name="connsiteX4" fmla="*/ 0 w 163639"/>
                  <a:gd name="connsiteY4" fmla="*/ 81820 h 163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639" h="163639">
                    <a:moveTo>
                      <a:pt x="0" y="81820"/>
                    </a:moveTo>
                    <a:cubicBezTo>
                      <a:pt x="0" y="126968"/>
                      <a:pt x="36671" y="163639"/>
                      <a:pt x="81820" y="163639"/>
                    </a:cubicBezTo>
                    <a:cubicBezTo>
                      <a:pt x="126968" y="163639"/>
                      <a:pt x="163640" y="126968"/>
                      <a:pt x="163640" y="81820"/>
                    </a:cubicBezTo>
                    <a:cubicBezTo>
                      <a:pt x="163640" y="36671"/>
                      <a:pt x="126968" y="0"/>
                      <a:pt x="81820" y="0"/>
                    </a:cubicBezTo>
                    <a:cubicBezTo>
                      <a:pt x="36671" y="0"/>
                      <a:pt x="0" y="36671"/>
                      <a:pt x="0" y="818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35" name="Textfeld 34">
            <a:extLst>
              <a:ext uri="{FF2B5EF4-FFF2-40B4-BE49-F238E27FC236}">
                <a16:creationId xmlns:a16="http://schemas.microsoft.com/office/drawing/2014/main" id="{B3E07976-9DD4-F9BC-B766-735D3749D739}"/>
              </a:ext>
            </a:extLst>
          </p:cNvPr>
          <p:cNvSpPr txBox="1"/>
          <p:nvPr userDrawn="1"/>
        </p:nvSpPr>
        <p:spPr>
          <a:xfrm>
            <a:off x="381600" y="569631"/>
            <a:ext cx="1584176" cy="25699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070" dirty="0">
                <a:solidFill>
                  <a:srgbClr val="7E7570"/>
                </a:solidFill>
                <a:latin typeface="+mj-lt"/>
              </a:rPr>
              <a:t>NETZE BW WASSER</a:t>
            </a:r>
          </a:p>
        </p:txBody>
      </p:sp>
    </p:spTree>
    <p:extLst>
      <p:ext uri="{BB962C8B-B14F-4D97-AF65-F5344CB8AC3E}">
        <p14:creationId xmlns:p14="http://schemas.microsoft.com/office/powerpoint/2010/main" val="841435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C56D05-96DA-01A7-8933-A5477F02B9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0632" y="419801"/>
            <a:ext cx="1584000" cy="34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7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117137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C873169-D421-ED96-2AB2-906F97D6AC68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388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55">
          <p15:clr>
            <a:srgbClr val="F26B43"/>
          </p15:clr>
        </p15:guide>
        <p15:guide id="17" orient="horz" pos="4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214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214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7" Type="http://schemas.openxmlformats.org/officeDocument/2006/relationships/image" Target="../media/image214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7" Type="http://schemas.openxmlformats.org/officeDocument/2006/relationships/image" Target="../media/image214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svg"/><Relationship Id="rId7" Type="http://schemas.openxmlformats.org/officeDocument/2006/relationships/image" Target="../media/image213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2.png"/><Relationship Id="rId5" Type="http://schemas.openxmlformats.org/officeDocument/2006/relationships/image" Target="../media/image121.svg"/><Relationship Id="rId4" Type="http://schemas.openxmlformats.org/officeDocument/2006/relationships/image" Target="../media/image120.png"/><Relationship Id="rId9" Type="http://schemas.openxmlformats.org/officeDocument/2006/relationships/image" Target="../media/image214.sv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sv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20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svg"/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20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svg"/><Relationship Id="rId2" Type="http://schemas.openxmlformats.org/officeDocument/2006/relationships/image" Target="../media/image226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18" Type="http://schemas.openxmlformats.org/officeDocument/2006/relationships/image" Target="../media/image38.png"/><Relationship Id="rId26" Type="http://schemas.openxmlformats.org/officeDocument/2006/relationships/image" Target="../media/image46.png"/><Relationship Id="rId39" Type="http://schemas.openxmlformats.org/officeDocument/2006/relationships/image" Target="../media/image59.svg"/><Relationship Id="rId3" Type="http://schemas.openxmlformats.org/officeDocument/2006/relationships/image" Target="../media/image23.svg"/><Relationship Id="rId21" Type="http://schemas.openxmlformats.org/officeDocument/2006/relationships/image" Target="../media/image41.svg"/><Relationship Id="rId34" Type="http://schemas.openxmlformats.org/officeDocument/2006/relationships/image" Target="../media/image54.png"/><Relationship Id="rId42" Type="http://schemas.openxmlformats.org/officeDocument/2006/relationships/image" Target="../media/image62.png"/><Relationship Id="rId47" Type="http://schemas.openxmlformats.org/officeDocument/2006/relationships/image" Target="../media/image67.sv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17" Type="http://schemas.openxmlformats.org/officeDocument/2006/relationships/image" Target="../media/image37.svg"/><Relationship Id="rId25" Type="http://schemas.openxmlformats.org/officeDocument/2006/relationships/image" Target="../media/image45.svg"/><Relationship Id="rId33" Type="http://schemas.openxmlformats.org/officeDocument/2006/relationships/image" Target="../media/image53.svg"/><Relationship Id="rId38" Type="http://schemas.openxmlformats.org/officeDocument/2006/relationships/image" Target="../media/image58.png"/><Relationship Id="rId46" Type="http://schemas.openxmlformats.org/officeDocument/2006/relationships/image" Target="../media/image66.pn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29" Type="http://schemas.openxmlformats.org/officeDocument/2006/relationships/image" Target="../media/image49.svg"/><Relationship Id="rId41" Type="http://schemas.openxmlformats.org/officeDocument/2006/relationships/image" Target="../media/image61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37" Type="http://schemas.openxmlformats.org/officeDocument/2006/relationships/image" Target="../media/image57.svg"/><Relationship Id="rId40" Type="http://schemas.openxmlformats.org/officeDocument/2006/relationships/image" Target="../media/image60.png"/><Relationship Id="rId45" Type="http://schemas.openxmlformats.org/officeDocument/2006/relationships/image" Target="../media/image65.svg"/><Relationship Id="rId5" Type="http://schemas.openxmlformats.org/officeDocument/2006/relationships/image" Target="../media/image25.svg"/><Relationship Id="rId15" Type="http://schemas.openxmlformats.org/officeDocument/2006/relationships/image" Target="../media/image35.svg"/><Relationship Id="rId23" Type="http://schemas.openxmlformats.org/officeDocument/2006/relationships/image" Target="../media/image43.svg"/><Relationship Id="rId28" Type="http://schemas.openxmlformats.org/officeDocument/2006/relationships/image" Target="../media/image48.png"/><Relationship Id="rId36" Type="http://schemas.openxmlformats.org/officeDocument/2006/relationships/image" Target="../media/image56.png"/><Relationship Id="rId10" Type="http://schemas.openxmlformats.org/officeDocument/2006/relationships/image" Target="../media/image30.png"/><Relationship Id="rId19" Type="http://schemas.openxmlformats.org/officeDocument/2006/relationships/image" Target="../media/image39.svg"/><Relationship Id="rId31" Type="http://schemas.openxmlformats.org/officeDocument/2006/relationships/image" Target="../media/image51.svg"/><Relationship Id="rId44" Type="http://schemas.openxmlformats.org/officeDocument/2006/relationships/image" Target="../media/image64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34.png"/><Relationship Id="rId22" Type="http://schemas.openxmlformats.org/officeDocument/2006/relationships/image" Target="../media/image42.png"/><Relationship Id="rId27" Type="http://schemas.openxmlformats.org/officeDocument/2006/relationships/image" Target="../media/image47.svg"/><Relationship Id="rId30" Type="http://schemas.openxmlformats.org/officeDocument/2006/relationships/image" Target="../media/image50.png"/><Relationship Id="rId35" Type="http://schemas.openxmlformats.org/officeDocument/2006/relationships/image" Target="../media/image55.svg"/><Relationship Id="rId43" Type="http://schemas.openxmlformats.org/officeDocument/2006/relationships/image" Target="../media/image63.svg"/><Relationship Id="rId48" Type="http://schemas.openxmlformats.org/officeDocument/2006/relationships/hyperlink" Target="https://enbw.bynder.com/guidelines/guide/06c4c6b6-445d-4e9b-9172-1fb2c04bb2b3/page/e5c4bf27-3475-4739-87a4-78726b9d94e9#fn3p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9.svg"/><Relationship Id="rId18" Type="http://schemas.openxmlformats.org/officeDocument/2006/relationships/image" Target="../media/image84.png"/><Relationship Id="rId26" Type="http://schemas.openxmlformats.org/officeDocument/2006/relationships/image" Target="../media/image92.png"/><Relationship Id="rId39" Type="http://schemas.openxmlformats.org/officeDocument/2006/relationships/image" Target="../media/image105.svg"/><Relationship Id="rId3" Type="http://schemas.openxmlformats.org/officeDocument/2006/relationships/image" Target="../media/image69.svg"/><Relationship Id="rId21" Type="http://schemas.openxmlformats.org/officeDocument/2006/relationships/image" Target="../media/image87.svg"/><Relationship Id="rId34" Type="http://schemas.openxmlformats.org/officeDocument/2006/relationships/image" Target="../media/image100.png"/><Relationship Id="rId42" Type="http://schemas.openxmlformats.org/officeDocument/2006/relationships/image" Target="../media/image108.png"/><Relationship Id="rId47" Type="http://schemas.openxmlformats.org/officeDocument/2006/relationships/image" Target="../media/image113.svg"/><Relationship Id="rId50" Type="http://schemas.openxmlformats.org/officeDocument/2006/relationships/hyperlink" Target="https://enbw.bynder.com/guidelines/guide/06c4c6b6-445d-4e9b-9172-1fb2c04bb2b3/page/e5c4bf27-3475-4739-87a4-78726b9d94e9#fn3pl" TargetMode="External"/><Relationship Id="rId7" Type="http://schemas.openxmlformats.org/officeDocument/2006/relationships/image" Target="../media/image73.svg"/><Relationship Id="rId12" Type="http://schemas.openxmlformats.org/officeDocument/2006/relationships/image" Target="../media/image78.png"/><Relationship Id="rId17" Type="http://schemas.openxmlformats.org/officeDocument/2006/relationships/image" Target="../media/image83.svg"/><Relationship Id="rId25" Type="http://schemas.openxmlformats.org/officeDocument/2006/relationships/image" Target="../media/image91.svg"/><Relationship Id="rId33" Type="http://schemas.openxmlformats.org/officeDocument/2006/relationships/image" Target="../media/image99.svg"/><Relationship Id="rId38" Type="http://schemas.openxmlformats.org/officeDocument/2006/relationships/image" Target="../media/image104.png"/><Relationship Id="rId46" Type="http://schemas.openxmlformats.org/officeDocument/2006/relationships/image" Target="../media/image112.png"/><Relationship Id="rId2" Type="http://schemas.openxmlformats.org/officeDocument/2006/relationships/image" Target="../media/image68.png"/><Relationship Id="rId16" Type="http://schemas.openxmlformats.org/officeDocument/2006/relationships/image" Target="../media/image82.png"/><Relationship Id="rId20" Type="http://schemas.openxmlformats.org/officeDocument/2006/relationships/image" Target="../media/image86.png"/><Relationship Id="rId29" Type="http://schemas.openxmlformats.org/officeDocument/2006/relationships/image" Target="../media/image95.svg"/><Relationship Id="rId41" Type="http://schemas.openxmlformats.org/officeDocument/2006/relationships/image" Target="../media/image107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24" Type="http://schemas.openxmlformats.org/officeDocument/2006/relationships/image" Target="../media/image90.png"/><Relationship Id="rId32" Type="http://schemas.openxmlformats.org/officeDocument/2006/relationships/image" Target="../media/image98.png"/><Relationship Id="rId37" Type="http://schemas.openxmlformats.org/officeDocument/2006/relationships/image" Target="../media/image103.svg"/><Relationship Id="rId40" Type="http://schemas.openxmlformats.org/officeDocument/2006/relationships/image" Target="../media/image106.png"/><Relationship Id="rId45" Type="http://schemas.openxmlformats.org/officeDocument/2006/relationships/image" Target="../media/image111.svg"/><Relationship Id="rId5" Type="http://schemas.openxmlformats.org/officeDocument/2006/relationships/image" Target="../media/image71.svg"/><Relationship Id="rId15" Type="http://schemas.openxmlformats.org/officeDocument/2006/relationships/image" Target="../media/image81.svg"/><Relationship Id="rId23" Type="http://schemas.openxmlformats.org/officeDocument/2006/relationships/image" Target="../media/image89.svg"/><Relationship Id="rId28" Type="http://schemas.openxmlformats.org/officeDocument/2006/relationships/image" Target="../media/image94.png"/><Relationship Id="rId36" Type="http://schemas.openxmlformats.org/officeDocument/2006/relationships/image" Target="../media/image102.png"/><Relationship Id="rId49" Type="http://schemas.openxmlformats.org/officeDocument/2006/relationships/image" Target="../media/image115.svg"/><Relationship Id="rId10" Type="http://schemas.openxmlformats.org/officeDocument/2006/relationships/image" Target="../media/image76.png"/><Relationship Id="rId19" Type="http://schemas.openxmlformats.org/officeDocument/2006/relationships/image" Target="../media/image85.svg"/><Relationship Id="rId31" Type="http://schemas.openxmlformats.org/officeDocument/2006/relationships/image" Target="../media/image97.svg"/><Relationship Id="rId44" Type="http://schemas.openxmlformats.org/officeDocument/2006/relationships/image" Target="../media/image110.png"/><Relationship Id="rId4" Type="http://schemas.openxmlformats.org/officeDocument/2006/relationships/image" Target="../media/image70.png"/><Relationship Id="rId9" Type="http://schemas.openxmlformats.org/officeDocument/2006/relationships/image" Target="../media/image75.svg"/><Relationship Id="rId14" Type="http://schemas.openxmlformats.org/officeDocument/2006/relationships/image" Target="../media/image80.png"/><Relationship Id="rId22" Type="http://schemas.openxmlformats.org/officeDocument/2006/relationships/image" Target="../media/image88.png"/><Relationship Id="rId27" Type="http://schemas.openxmlformats.org/officeDocument/2006/relationships/image" Target="../media/image93.svg"/><Relationship Id="rId30" Type="http://schemas.openxmlformats.org/officeDocument/2006/relationships/image" Target="../media/image96.png"/><Relationship Id="rId35" Type="http://schemas.openxmlformats.org/officeDocument/2006/relationships/image" Target="../media/image101.svg"/><Relationship Id="rId43" Type="http://schemas.openxmlformats.org/officeDocument/2006/relationships/image" Target="../media/image109.svg"/><Relationship Id="rId48" Type="http://schemas.openxmlformats.org/officeDocument/2006/relationships/image" Target="../media/image114.png"/><Relationship Id="rId8" Type="http://schemas.openxmlformats.org/officeDocument/2006/relationships/image" Target="../media/image74.png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7.svg"/><Relationship Id="rId18" Type="http://schemas.openxmlformats.org/officeDocument/2006/relationships/image" Target="../media/image132.png"/><Relationship Id="rId26" Type="http://schemas.openxmlformats.org/officeDocument/2006/relationships/image" Target="../media/image140.png"/><Relationship Id="rId39" Type="http://schemas.openxmlformats.org/officeDocument/2006/relationships/image" Target="../media/image153.svg"/><Relationship Id="rId3" Type="http://schemas.openxmlformats.org/officeDocument/2006/relationships/image" Target="../media/image117.svg"/><Relationship Id="rId21" Type="http://schemas.openxmlformats.org/officeDocument/2006/relationships/image" Target="../media/image135.svg"/><Relationship Id="rId34" Type="http://schemas.openxmlformats.org/officeDocument/2006/relationships/image" Target="../media/image148.png"/><Relationship Id="rId42" Type="http://schemas.openxmlformats.org/officeDocument/2006/relationships/image" Target="../media/image156.png"/><Relationship Id="rId47" Type="http://schemas.openxmlformats.org/officeDocument/2006/relationships/image" Target="../media/image161.svg"/><Relationship Id="rId50" Type="http://schemas.openxmlformats.org/officeDocument/2006/relationships/hyperlink" Target="https://enbw.bynder.com/guidelines/guide/06c4c6b6-445d-4e9b-9172-1fb2c04bb2b3/page/e5c4bf27-3475-4739-87a4-78726b9d94e9#fn3pl" TargetMode="External"/><Relationship Id="rId7" Type="http://schemas.openxmlformats.org/officeDocument/2006/relationships/image" Target="../media/image121.svg"/><Relationship Id="rId12" Type="http://schemas.openxmlformats.org/officeDocument/2006/relationships/image" Target="../media/image126.png"/><Relationship Id="rId17" Type="http://schemas.openxmlformats.org/officeDocument/2006/relationships/image" Target="../media/image131.svg"/><Relationship Id="rId25" Type="http://schemas.openxmlformats.org/officeDocument/2006/relationships/image" Target="../media/image139.svg"/><Relationship Id="rId33" Type="http://schemas.openxmlformats.org/officeDocument/2006/relationships/image" Target="../media/image147.svg"/><Relationship Id="rId38" Type="http://schemas.openxmlformats.org/officeDocument/2006/relationships/image" Target="../media/image152.png"/><Relationship Id="rId46" Type="http://schemas.openxmlformats.org/officeDocument/2006/relationships/image" Target="../media/image160.png"/><Relationship Id="rId2" Type="http://schemas.openxmlformats.org/officeDocument/2006/relationships/image" Target="../media/image116.png"/><Relationship Id="rId16" Type="http://schemas.openxmlformats.org/officeDocument/2006/relationships/image" Target="../media/image130.png"/><Relationship Id="rId20" Type="http://schemas.openxmlformats.org/officeDocument/2006/relationships/image" Target="../media/image134.png"/><Relationship Id="rId29" Type="http://schemas.openxmlformats.org/officeDocument/2006/relationships/image" Target="../media/image143.svg"/><Relationship Id="rId41" Type="http://schemas.openxmlformats.org/officeDocument/2006/relationships/image" Target="../media/image155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0.png"/><Relationship Id="rId11" Type="http://schemas.openxmlformats.org/officeDocument/2006/relationships/image" Target="../media/image125.svg"/><Relationship Id="rId24" Type="http://schemas.openxmlformats.org/officeDocument/2006/relationships/image" Target="../media/image138.png"/><Relationship Id="rId32" Type="http://schemas.openxmlformats.org/officeDocument/2006/relationships/image" Target="../media/image146.png"/><Relationship Id="rId37" Type="http://schemas.openxmlformats.org/officeDocument/2006/relationships/image" Target="../media/image151.svg"/><Relationship Id="rId40" Type="http://schemas.openxmlformats.org/officeDocument/2006/relationships/image" Target="../media/image154.png"/><Relationship Id="rId45" Type="http://schemas.openxmlformats.org/officeDocument/2006/relationships/image" Target="../media/image159.svg"/><Relationship Id="rId5" Type="http://schemas.openxmlformats.org/officeDocument/2006/relationships/image" Target="../media/image119.svg"/><Relationship Id="rId15" Type="http://schemas.openxmlformats.org/officeDocument/2006/relationships/image" Target="../media/image129.svg"/><Relationship Id="rId23" Type="http://schemas.openxmlformats.org/officeDocument/2006/relationships/image" Target="../media/image137.svg"/><Relationship Id="rId28" Type="http://schemas.openxmlformats.org/officeDocument/2006/relationships/image" Target="../media/image142.png"/><Relationship Id="rId36" Type="http://schemas.openxmlformats.org/officeDocument/2006/relationships/image" Target="../media/image150.png"/><Relationship Id="rId49" Type="http://schemas.openxmlformats.org/officeDocument/2006/relationships/image" Target="../media/image163.svg"/><Relationship Id="rId10" Type="http://schemas.openxmlformats.org/officeDocument/2006/relationships/image" Target="../media/image124.png"/><Relationship Id="rId19" Type="http://schemas.openxmlformats.org/officeDocument/2006/relationships/image" Target="../media/image133.svg"/><Relationship Id="rId31" Type="http://schemas.openxmlformats.org/officeDocument/2006/relationships/image" Target="../media/image145.svg"/><Relationship Id="rId44" Type="http://schemas.openxmlformats.org/officeDocument/2006/relationships/image" Target="../media/image158.png"/><Relationship Id="rId4" Type="http://schemas.openxmlformats.org/officeDocument/2006/relationships/image" Target="../media/image118.png"/><Relationship Id="rId9" Type="http://schemas.openxmlformats.org/officeDocument/2006/relationships/image" Target="../media/image123.svg"/><Relationship Id="rId14" Type="http://schemas.openxmlformats.org/officeDocument/2006/relationships/image" Target="../media/image128.png"/><Relationship Id="rId22" Type="http://schemas.openxmlformats.org/officeDocument/2006/relationships/image" Target="../media/image136.png"/><Relationship Id="rId27" Type="http://schemas.openxmlformats.org/officeDocument/2006/relationships/image" Target="../media/image141.svg"/><Relationship Id="rId30" Type="http://schemas.openxmlformats.org/officeDocument/2006/relationships/image" Target="../media/image144.png"/><Relationship Id="rId35" Type="http://schemas.openxmlformats.org/officeDocument/2006/relationships/image" Target="../media/image149.svg"/><Relationship Id="rId43" Type="http://schemas.openxmlformats.org/officeDocument/2006/relationships/image" Target="../media/image157.svg"/><Relationship Id="rId48" Type="http://schemas.openxmlformats.org/officeDocument/2006/relationships/image" Target="../media/image162.png"/><Relationship Id="rId8" Type="http://schemas.openxmlformats.org/officeDocument/2006/relationships/image" Target="../media/image122.png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5.svg"/><Relationship Id="rId18" Type="http://schemas.openxmlformats.org/officeDocument/2006/relationships/image" Target="../media/image180.png"/><Relationship Id="rId26" Type="http://schemas.openxmlformats.org/officeDocument/2006/relationships/image" Target="../media/image188.png"/><Relationship Id="rId39" Type="http://schemas.openxmlformats.org/officeDocument/2006/relationships/image" Target="../media/image201.svg"/><Relationship Id="rId3" Type="http://schemas.openxmlformats.org/officeDocument/2006/relationships/image" Target="../media/image165.svg"/><Relationship Id="rId21" Type="http://schemas.openxmlformats.org/officeDocument/2006/relationships/image" Target="../media/image183.svg"/><Relationship Id="rId34" Type="http://schemas.openxmlformats.org/officeDocument/2006/relationships/image" Target="../media/image196.png"/><Relationship Id="rId42" Type="http://schemas.openxmlformats.org/officeDocument/2006/relationships/image" Target="../media/image204.png"/><Relationship Id="rId47" Type="http://schemas.openxmlformats.org/officeDocument/2006/relationships/image" Target="../media/image209.svg"/><Relationship Id="rId50" Type="http://schemas.openxmlformats.org/officeDocument/2006/relationships/hyperlink" Target="https://enbw.bynder.com/guidelines/guide/06c4c6b6-445d-4e9b-9172-1fb2c04bb2b3/page/e5c4bf27-3475-4739-87a4-78726b9d94e9#fn3pl" TargetMode="External"/><Relationship Id="rId7" Type="http://schemas.openxmlformats.org/officeDocument/2006/relationships/image" Target="../media/image169.svg"/><Relationship Id="rId12" Type="http://schemas.openxmlformats.org/officeDocument/2006/relationships/image" Target="../media/image174.png"/><Relationship Id="rId17" Type="http://schemas.openxmlformats.org/officeDocument/2006/relationships/image" Target="../media/image179.svg"/><Relationship Id="rId25" Type="http://schemas.openxmlformats.org/officeDocument/2006/relationships/image" Target="../media/image187.svg"/><Relationship Id="rId33" Type="http://schemas.openxmlformats.org/officeDocument/2006/relationships/image" Target="../media/image195.svg"/><Relationship Id="rId38" Type="http://schemas.openxmlformats.org/officeDocument/2006/relationships/image" Target="../media/image200.png"/><Relationship Id="rId46" Type="http://schemas.openxmlformats.org/officeDocument/2006/relationships/image" Target="../media/image208.png"/><Relationship Id="rId2" Type="http://schemas.openxmlformats.org/officeDocument/2006/relationships/image" Target="../media/image164.png"/><Relationship Id="rId16" Type="http://schemas.openxmlformats.org/officeDocument/2006/relationships/image" Target="../media/image178.png"/><Relationship Id="rId20" Type="http://schemas.openxmlformats.org/officeDocument/2006/relationships/image" Target="../media/image182.png"/><Relationship Id="rId29" Type="http://schemas.openxmlformats.org/officeDocument/2006/relationships/image" Target="../media/image191.svg"/><Relationship Id="rId41" Type="http://schemas.openxmlformats.org/officeDocument/2006/relationships/image" Target="../media/image203.sv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8.png"/><Relationship Id="rId11" Type="http://schemas.openxmlformats.org/officeDocument/2006/relationships/image" Target="../media/image173.svg"/><Relationship Id="rId24" Type="http://schemas.openxmlformats.org/officeDocument/2006/relationships/image" Target="../media/image186.png"/><Relationship Id="rId32" Type="http://schemas.openxmlformats.org/officeDocument/2006/relationships/image" Target="../media/image194.png"/><Relationship Id="rId37" Type="http://schemas.openxmlformats.org/officeDocument/2006/relationships/image" Target="../media/image199.svg"/><Relationship Id="rId40" Type="http://schemas.openxmlformats.org/officeDocument/2006/relationships/image" Target="../media/image202.png"/><Relationship Id="rId45" Type="http://schemas.openxmlformats.org/officeDocument/2006/relationships/image" Target="../media/image207.svg"/><Relationship Id="rId5" Type="http://schemas.openxmlformats.org/officeDocument/2006/relationships/image" Target="../media/image167.svg"/><Relationship Id="rId15" Type="http://schemas.openxmlformats.org/officeDocument/2006/relationships/image" Target="../media/image177.svg"/><Relationship Id="rId23" Type="http://schemas.openxmlformats.org/officeDocument/2006/relationships/image" Target="../media/image185.svg"/><Relationship Id="rId28" Type="http://schemas.openxmlformats.org/officeDocument/2006/relationships/image" Target="../media/image190.png"/><Relationship Id="rId36" Type="http://schemas.openxmlformats.org/officeDocument/2006/relationships/image" Target="../media/image198.png"/><Relationship Id="rId49" Type="http://schemas.openxmlformats.org/officeDocument/2006/relationships/image" Target="../media/image211.svg"/><Relationship Id="rId10" Type="http://schemas.openxmlformats.org/officeDocument/2006/relationships/image" Target="../media/image172.png"/><Relationship Id="rId19" Type="http://schemas.openxmlformats.org/officeDocument/2006/relationships/image" Target="../media/image181.svg"/><Relationship Id="rId31" Type="http://schemas.openxmlformats.org/officeDocument/2006/relationships/image" Target="../media/image193.svg"/><Relationship Id="rId44" Type="http://schemas.openxmlformats.org/officeDocument/2006/relationships/image" Target="../media/image206.png"/><Relationship Id="rId4" Type="http://schemas.openxmlformats.org/officeDocument/2006/relationships/image" Target="../media/image166.png"/><Relationship Id="rId9" Type="http://schemas.openxmlformats.org/officeDocument/2006/relationships/image" Target="../media/image171.svg"/><Relationship Id="rId14" Type="http://schemas.openxmlformats.org/officeDocument/2006/relationships/image" Target="../media/image176.png"/><Relationship Id="rId22" Type="http://schemas.openxmlformats.org/officeDocument/2006/relationships/image" Target="../media/image184.png"/><Relationship Id="rId27" Type="http://schemas.openxmlformats.org/officeDocument/2006/relationships/image" Target="../media/image189.svg"/><Relationship Id="rId30" Type="http://schemas.openxmlformats.org/officeDocument/2006/relationships/image" Target="../media/image192.png"/><Relationship Id="rId35" Type="http://schemas.openxmlformats.org/officeDocument/2006/relationships/image" Target="../media/image197.svg"/><Relationship Id="rId43" Type="http://schemas.openxmlformats.org/officeDocument/2006/relationships/image" Target="../media/image205.svg"/><Relationship Id="rId48" Type="http://schemas.openxmlformats.org/officeDocument/2006/relationships/image" Target="../media/image210.png"/><Relationship Id="rId8" Type="http://schemas.openxmlformats.org/officeDocument/2006/relationships/image" Target="../media/image170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enbw.bynder.com/guidelines/guide/06c4c6b6-445d-4e9b-9172-1fb2c04bb2b3/page/e5c4bf27-3475-4739-87a4-78726b9d94e9#fn3pl" TargetMode="External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5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0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19.svg"/><Relationship Id="rId7" Type="http://schemas.openxmlformats.org/officeDocument/2006/relationships/image" Target="../media/image21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2.png"/><Relationship Id="rId5" Type="http://schemas.openxmlformats.org/officeDocument/2006/relationships/image" Target="../media/image45.svg"/><Relationship Id="rId4" Type="http://schemas.openxmlformats.org/officeDocument/2006/relationships/image" Target="../media/image44.png"/><Relationship Id="rId9" Type="http://schemas.openxmlformats.org/officeDocument/2006/relationships/image" Target="../media/image214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sv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6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sv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5.svg"/><Relationship Id="rId4" Type="http://schemas.openxmlformats.org/officeDocument/2006/relationships/image" Target="../media/image12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svg"/><Relationship Id="rId7" Type="http://schemas.openxmlformats.org/officeDocument/2006/relationships/image" Target="../media/image4.sv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.png"/><Relationship Id="rId5" Type="http://schemas.openxmlformats.org/officeDocument/2006/relationships/image" Target="../media/image125.svg"/><Relationship Id="rId4" Type="http://schemas.openxmlformats.org/officeDocument/2006/relationships/image" Target="../media/image12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sv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7.svg"/><Relationship Id="rId4" Type="http://schemas.openxmlformats.org/officeDocument/2006/relationships/image" Target="../media/image12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svg"/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21.svg"/><Relationship Id="rId4" Type="http://schemas.openxmlformats.org/officeDocument/2006/relationships/image" Target="../media/image220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sv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.sv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9.sv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0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0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0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0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0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2.png"/><Relationship Id="rId3" Type="http://schemas.openxmlformats.org/officeDocument/2006/relationships/image" Target="../media/image45.svg"/><Relationship Id="rId7" Type="http://schemas.openxmlformats.org/officeDocument/2006/relationships/image" Target="../media/image121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0.png"/><Relationship Id="rId11" Type="http://schemas.openxmlformats.org/officeDocument/2006/relationships/image" Target="../media/image214.svg"/><Relationship Id="rId5" Type="http://schemas.openxmlformats.org/officeDocument/2006/relationships/image" Target="../media/image49.svg"/><Relationship Id="rId10" Type="http://schemas.openxmlformats.org/officeDocument/2006/relationships/image" Target="../media/image50.png"/><Relationship Id="rId4" Type="http://schemas.openxmlformats.org/officeDocument/2006/relationships/image" Target="../media/image48.png"/><Relationship Id="rId9" Type="http://schemas.openxmlformats.org/officeDocument/2006/relationships/image" Target="../media/image213.sv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svg"/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4.svg"/><Relationship Id="rId4" Type="http://schemas.openxmlformats.org/officeDocument/2006/relationships/image" Target="../media/image5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svg"/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4.svg"/><Relationship Id="rId4" Type="http://schemas.openxmlformats.org/officeDocument/2006/relationships/image" Target="../media/image50.png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7" Type="http://schemas.openxmlformats.org/officeDocument/2006/relationships/image" Target="../media/image214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14.svg"/><Relationship Id="rId3" Type="http://schemas.openxmlformats.org/officeDocument/2006/relationships/image" Target="../media/image45.svg"/><Relationship Id="rId7" Type="http://schemas.openxmlformats.org/officeDocument/2006/relationships/image" Target="../media/image121.svg"/><Relationship Id="rId12" Type="http://schemas.openxmlformats.org/officeDocument/2006/relationships/image" Target="../media/image50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0.png"/><Relationship Id="rId11" Type="http://schemas.openxmlformats.org/officeDocument/2006/relationships/image" Target="../media/image213.svg"/><Relationship Id="rId5" Type="http://schemas.openxmlformats.org/officeDocument/2006/relationships/image" Target="../media/image49.svg"/><Relationship Id="rId10" Type="http://schemas.openxmlformats.org/officeDocument/2006/relationships/image" Target="../media/image212.png"/><Relationship Id="rId4" Type="http://schemas.openxmlformats.org/officeDocument/2006/relationships/image" Target="../media/image48.png"/><Relationship Id="rId9" Type="http://schemas.openxmlformats.org/officeDocument/2006/relationships/image" Target="../media/image19.sv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7" Type="http://schemas.openxmlformats.org/officeDocument/2006/relationships/image" Target="../media/image55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14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213.svg"/><Relationship Id="rId4" Type="http://schemas.openxmlformats.org/officeDocument/2006/relationships/image" Target="../media/image212.pn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svg"/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4.svg"/><Relationship Id="rId4" Type="http://schemas.openxmlformats.org/officeDocument/2006/relationships/image" Target="../media/image50.pn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37.svg"/><Relationship Id="rId7" Type="http://schemas.openxmlformats.org/officeDocument/2006/relationships/image" Target="../media/image213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2.png"/><Relationship Id="rId5" Type="http://schemas.openxmlformats.org/officeDocument/2006/relationships/image" Target="../media/image121.svg"/><Relationship Id="rId4" Type="http://schemas.openxmlformats.org/officeDocument/2006/relationships/image" Target="../media/image120.png"/><Relationship Id="rId9" Type="http://schemas.openxmlformats.org/officeDocument/2006/relationships/image" Target="../media/image2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itel zwei- bis vierzeilig lorem ohne Bild lorem ipsu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30339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1678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00925" y="3761602"/>
            <a:ext cx="711299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0</a:t>
            </a:fld>
            <a:endParaRPr lang="de-DE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45DFF1DA-321F-4690-8ECA-088B6188A39F}"/>
              </a:ext>
            </a:extLst>
          </p:cNvPr>
          <p:cNvSpPr/>
          <p:nvPr/>
        </p:nvSpPr>
        <p:spPr>
          <a:xfrm>
            <a:off x="4727848" y="2708920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5814ED4-F694-44A3-8F92-C87502F2297B}"/>
              </a:ext>
            </a:extLst>
          </p:cNvPr>
          <p:cNvSpPr/>
          <p:nvPr/>
        </p:nvSpPr>
        <p:spPr>
          <a:xfrm>
            <a:off x="4727848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61484D6-3BAF-4395-9AA6-99E1B44E7722}"/>
              </a:ext>
            </a:extLst>
          </p:cNvPr>
          <p:cNvSpPr/>
          <p:nvPr/>
        </p:nvSpPr>
        <p:spPr>
          <a:xfrm>
            <a:off x="6600056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9D06306-6900-4107-ACAE-44A4E48F7106}"/>
              </a:ext>
            </a:extLst>
          </p:cNvPr>
          <p:cNvSpPr/>
          <p:nvPr/>
        </p:nvSpPr>
        <p:spPr>
          <a:xfrm>
            <a:off x="6600056" y="4581128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863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1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537EE6F-0054-4A6F-9A79-FD7BDA744C6E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186F39-25F8-4379-9495-CDD791260C79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1580E6A-CBEC-497A-801E-B01BC6D30BD4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4B5D2AC-CCC6-4C00-AAEC-9258D5624990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5" name="Freeform 5">
            <a:extLst>
              <a:ext uri="{FF2B5EF4-FFF2-40B4-BE49-F238E27FC236}">
                <a16:creationId xmlns:a16="http://schemas.microsoft.com/office/drawing/2014/main" id="{6B13E74B-4647-47EB-BD0A-784F0FD985B1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2563BD8E-8C18-4AFB-AB45-BA81EA6D5FF3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524E13E-18F4-4DA3-8B73-51D3145CA7D1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838AE67C-AB05-4FA7-A33A-C4E4DD5496F5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6E77202-093A-472B-B6CB-F3C14D5FD30F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EC20C9D-4114-4D1F-AA2C-DF75D1FD9E23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4A01174-150D-4518-9946-A7F7CA73B2A6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1DD7DE2-1E3D-47B0-92F3-2D8FDD35B191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3E6AA1F-4E57-40D9-B759-5E5DE2814003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5117A99C-D440-4950-B749-56810F076706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577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2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1345790" y="346384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214" y="2161814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1345790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1345790" y="1916968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1345790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1345790" y="501331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1345790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F194C91-08FE-4BC0-7E50-2019132206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400" y="37260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475DFEB-DD1A-329E-A578-225FFB8F86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4400" y="52956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2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1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Topic 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3</a:t>
            </a:fld>
            <a:endParaRPr lang="de-DE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25454" y="2161814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3ECE856-55BB-79AA-0964-D43C984A4F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24400" y="37260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73D64BB-B33D-C77F-A457-E474B3909E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24400" y="52956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97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4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8A7F985-0BF5-4423-82A4-6BE08FA34526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CA03E9B-CC4A-413E-ABEE-BA3AABEA0D93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E013B68C-7A66-41A0-BBDA-32393541F79C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8FDCAEDE-1D0B-4FB0-BAFB-33F519D79839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C71017A-7B76-44C2-8CEF-1ADBAB2A05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6E2311F1-7449-4D7C-9119-89465AB8C9F9}"/>
              </a:ext>
            </a:extLst>
          </p:cNvPr>
          <p:cNvSpPr/>
          <p:nvPr/>
        </p:nvSpPr>
        <p:spPr>
          <a:xfrm>
            <a:off x="5587251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686C552B-D9BC-43D1-8474-D341FF162BEF}"/>
              </a:ext>
            </a:extLst>
          </p:cNvPr>
          <p:cNvSpPr/>
          <p:nvPr/>
        </p:nvSpPr>
        <p:spPr>
          <a:xfrm>
            <a:off x="5039493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A7D9CFB2-63DF-4CE3-815C-B61E40D47C45}"/>
              </a:ext>
            </a:extLst>
          </p:cNvPr>
          <p:cNvSpPr/>
          <p:nvPr/>
        </p:nvSpPr>
        <p:spPr>
          <a:xfrm>
            <a:off x="4491735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18A459C-094A-4831-95E1-C9FD52153E89}"/>
              </a:ext>
            </a:extLst>
          </p:cNvPr>
          <p:cNvSpPr/>
          <p:nvPr/>
        </p:nvSpPr>
        <p:spPr>
          <a:xfrm>
            <a:off x="3943977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1493E40-E21B-448A-8343-B8C87B685252}"/>
              </a:ext>
            </a:extLst>
          </p:cNvPr>
          <p:cNvSpPr/>
          <p:nvPr/>
        </p:nvSpPr>
        <p:spPr>
          <a:xfrm>
            <a:off x="3396219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3283E8B7-08B0-4AA8-AD53-028048CE98B2}"/>
              </a:ext>
            </a:extLst>
          </p:cNvPr>
          <p:cNvSpPr txBox="1">
            <a:spLocks/>
          </p:cNvSpPr>
          <p:nvPr/>
        </p:nvSpPr>
        <p:spPr>
          <a:xfrm>
            <a:off x="5587248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CA98C28-CAE5-40B3-BC83-9D2100242FB9}"/>
              </a:ext>
            </a:extLst>
          </p:cNvPr>
          <p:cNvSpPr txBox="1">
            <a:spLocks/>
          </p:cNvSpPr>
          <p:nvPr/>
        </p:nvSpPr>
        <p:spPr>
          <a:xfrm>
            <a:off x="5555543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37BC203F-0475-4DE4-8503-2C2009F98DDF}"/>
              </a:ext>
            </a:extLst>
          </p:cNvPr>
          <p:cNvSpPr txBox="1">
            <a:spLocks/>
          </p:cNvSpPr>
          <p:nvPr/>
        </p:nvSpPr>
        <p:spPr>
          <a:xfrm>
            <a:off x="5015483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63A2C66-9A41-402B-B73D-B645E9154561}"/>
              </a:ext>
            </a:extLst>
          </p:cNvPr>
          <p:cNvSpPr txBox="1">
            <a:spLocks/>
          </p:cNvSpPr>
          <p:nvPr/>
        </p:nvSpPr>
        <p:spPr>
          <a:xfrm>
            <a:off x="4458720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2D8623F8-9167-48F9-8891-D1D41CBBB835}"/>
              </a:ext>
            </a:extLst>
          </p:cNvPr>
          <p:cNvSpPr txBox="1">
            <a:spLocks/>
          </p:cNvSpPr>
          <p:nvPr/>
        </p:nvSpPr>
        <p:spPr>
          <a:xfrm>
            <a:off x="3899359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112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5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DEC03D-CA62-4E9C-9119-9953DDC24FB4}"/>
              </a:ext>
            </a:extLst>
          </p:cNvPr>
          <p:cNvGrpSpPr/>
          <p:nvPr/>
        </p:nvGrpSpPr>
        <p:grpSpPr>
          <a:xfrm>
            <a:off x="3400388" y="1879600"/>
            <a:ext cx="5395912" cy="4393716"/>
            <a:chOff x="404813" y="1879600"/>
            <a:chExt cx="5395912" cy="4393716"/>
          </a:xfrm>
        </p:grpSpPr>
        <p:sp>
          <p:nvSpPr>
            <p:cNvPr id="31" name="Textplatzhalter 2">
              <a:extLst>
                <a:ext uri="{FF2B5EF4-FFF2-40B4-BE49-F238E27FC236}">
                  <a16:creationId xmlns:a16="http://schemas.microsoft.com/office/drawing/2014/main" id="{5F85E6CC-ADCE-4D45-B971-ACB25EFDBFB3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/>
                <a:t>Text</a:t>
              </a:r>
              <a:endParaRPr lang="fr-FR" b="1" dirty="0"/>
            </a:p>
          </p:txBody>
        </p:sp>
        <p:sp>
          <p:nvSpPr>
            <p:cNvPr id="32" name="Textplatzhalter 2">
              <a:extLst>
                <a:ext uri="{FF2B5EF4-FFF2-40B4-BE49-F238E27FC236}">
                  <a16:creationId xmlns:a16="http://schemas.microsoft.com/office/drawing/2014/main" id="{A411C4B1-2288-424F-841C-C2FA5D4C9726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3" name="Textplatzhalter 2">
              <a:extLst>
                <a:ext uri="{FF2B5EF4-FFF2-40B4-BE49-F238E27FC236}">
                  <a16:creationId xmlns:a16="http://schemas.microsoft.com/office/drawing/2014/main" id="{52887159-9371-43A3-9890-EB41A9CE9259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4" name="Textplatzhalter 2">
              <a:extLst>
                <a:ext uri="{FF2B5EF4-FFF2-40B4-BE49-F238E27FC236}">
                  <a16:creationId xmlns:a16="http://schemas.microsoft.com/office/drawing/2014/main" id="{52F75A26-196B-4220-86B8-741FA8E8050B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5" name="Textplatzhalter 2">
              <a:extLst>
                <a:ext uri="{FF2B5EF4-FFF2-40B4-BE49-F238E27FC236}">
                  <a16:creationId xmlns:a16="http://schemas.microsoft.com/office/drawing/2014/main" id="{ED01F628-CC52-4CF2-AECF-91C11F8ECF14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78F53E2-0EBE-4153-B4D6-372CDE84FB73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 cap="rnd">
              <a:solidFill>
                <a:schemeClr val="tx2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869B2AF-8E4F-44C3-B1F3-7E0D19E1B62C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20C2500-6CCA-4791-8A76-266B7770CC1C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FA8A4F7-1C70-4799-9A15-23032FBDF8AF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679EC502-350A-4482-875D-B91F6A87CA77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11E38153-C7D1-4BC6-822B-228AA6D05082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1C26F4-99B0-48BA-AC0E-15DEDEF2017B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E520F36-05AD-4787-B6FE-DC48575F8198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8A057A3-8576-4EB5-8444-C10144794CBA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5EBC55A-AC70-402C-B391-6B6D8E0570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0370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6</a:t>
            </a:fld>
            <a:endParaRPr lang="de-DE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A98D3D1-0859-4F40-999F-8750A480A7AF}"/>
              </a:ext>
            </a:extLst>
          </p:cNvPr>
          <p:cNvSpPr/>
          <p:nvPr/>
        </p:nvSpPr>
        <p:spPr>
          <a:xfrm>
            <a:off x="2599316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E810C316-5BFA-46A3-8CC7-3BB64C0063EE}"/>
              </a:ext>
            </a:extLst>
          </p:cNvPr>
          <p:cNvSpPr/>
          <p:nvPr/>
        </p:nvSpPr>
        <p:spPr>
          <a:xfrm>
            <a:off x="2051558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4C0F2C2B-5D80-4E5A-97F0-7CFD31D0A9C5}"/>
              </a:ext>
            </a:extLst>
          </p:cNvPr>
          <p:cNvSpPr/>
          <p:nvPr/>
        </p:nvSpPr>
        <p:spPr>
          <a:xfrm>
            <a:off x="1503800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4518B39-7B74-4906-A171-806732C57416}"/>
              </a:ext>
            </a:extLst>
          </p:cNvPr>
          <p:cNvSpPr/>
          <p:nvPr/>
        </p:nvSpPr>
        <p:spPr>
          <a:xfrm>
            <a:off x="956042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244197D-338A-4998-A654-76B8D2CDD911}"/>
              </a:ext>
            </a:extLst>
          </p:cNvPr>
          <p:cNvSpPr/>
          <p:nvPr/>
        </p:nvSpPr>
        <p:spPr>
          <a:xfrm>
            <a:off x="408284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96B37BE0-6539-4B0A-8581-6F8DD546E247}"/>
              </a:ext>
            </a:extLst>
          </p:cNvPr>
          <p:cNvSpPr txBox="1">
            <a:spLocks/>
          </p:cNvSpPr>
          <p:nvPr/>
        </p:nvSpPr>
        <p:spPr>
          <a:xfrm>
            <a:off x="2599313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C267F3-4260-444E-B01C-324885288DA1}"/>
              </a:ext>
            </a:extLst>
          </p:cNvPr>
          <p:cNvSpPr txBox="1">
            <a:spLocks/>
          </p:cNvSpPr>
          <p:nvPr/>
        </p:nvSpPr>
        <p:spPr>
          <a:xfrm>
            <a:off x="2567608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44735C3-B208-42C7-BDEB-9E8743F498A3}"/>
              </a:ext>
            </a:extLst>
          </p:cNvPr>
          <p:cNvSpPr txBox="1">
            <a:spLocks/>
          </p:cNvSpPr>
          <p:nvPr/>
        </p:nvSpPr>
        <p:spPr>
          <a:xfrm>
            <a:off x="2027548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EE1A6B9-9D44-43A3-9A59-10A6D6597FC1}"/>
              </a:ext>
            </a:extLst>
          </p:cNvPr>
          <p:cNvSpPr txBox="1">
            <a:spLocks/>
          </p:cNvSpPr>
          <p:nvPr/>
        </p:nvSpPr>
        <p:spPr>
          <a:xfrm>
            <a:off x="1470785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B12154F8-8DA2-451B-97FD-CDE38CA1E4A3}"/>
              </a:ext>
            </a:extLst>
          </p:cNvPr>
          <p:cNvSpPr txBox="1">
            <a:spLocks/>
          </p:cNvSpPr>
          <p:nvPr/>
        </p:nvSpPr>
        <p:spPr>
          <a:xfrm>
            <a:off x="911424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latin typeface="+mj-lt"/>
              </a:rPr>
              <a:t>Text</a:t>
            </a:r>
            <a:endParaRPr lang="fr-FR" dirty="0">
              <a:latin typeface="+mj-lt"/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>
            <a:off x="3683732" y="2740704"/>
            <a:ext cx="810028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223792" y="3631736"/>
            <a:ext cx="756022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764788" y="4522768"/>
            <a:ext cx="7019225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339916" y="5413800"/>
            <a:ext cx="6444097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383338" y="1881189"/>
            <a:ext cx="5388906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383338" y="2740703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383338" y="3635041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383338" y="4529379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383337" y="5423717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1100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7</a:t>
            </a:fld>
            <a:endParaRPr lang="de-DE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 flipV="1">
            <a:off x="3767994" y="2740703"/>
            <a:ext cx="8028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319650" y="3635176"/>
            <a:ext cx="747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863369" y="4528359"/>
            <a:ext cx="693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412644" y="5418732"/>
            <a:ext cx="63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408244" y="1881189"/>
            <a:ext cx="5364000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5844012" y="1881188"/>
            <a:ext cx="360000" cy="859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408244" y="2740703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BED4CA43-E730-40EA-9642-ABD22D7F54C5}"/>
              </a:ext>
            </a:extLst>
          </p:cNvPr>
          <p:cNvSpPr/>
          <p:nvPr/>
        </p:nvSpPr>
        <p:spPr>
          <a:xfrm>
            <a:off x="5844012" y="2740703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408244" y="3635041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42F2EEB-C6B4-4C57-B925-4C5F66B66506}"/>
              </a:ext>
            </a:extLst>
          </p:cNvPr>
          <p:cNvSpPr/>
          <p:nvPr/>
        </p:nvSpPr>
        <p:spPr>
          <a:xfrm>
            <a:off x="5844012" y="3635041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408244" y="4529379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7845C4D-BB1E-4B18-9058-6E161266FB7E}"/>
              </a:ext>
            </a:extLst>
          </p:cNvPr>
          <p:cNvSpPr/>
          <p:nvPr/>
        </p:nvSpPr>
        <p:spPr>
          <a:xfrm>
            <a:off x="5844012" y="4529379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408243" y="5423717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065B365-E9DE-4FBC-9F3F-26BFB6CF16E1}"/>
              </a:ext>
            </a:extLst>
          </p:cNvPr>
          <p:cNvSpPr/>
          <p:nvPr/>
        </p:nvSpPr>
        <p:spPr>
          <a:xfrm>
            <a:off x="5844012" y="5423717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6C96953-39D3-481E-94F4-87D16D32E849}"/>
              </a:ext>
            </a:extLst>
          </p:cNvPr>
          <p:cNvGrpSpPr/>
          <p:nvPr/>
        </p:nvGrpSpPr>
        <p:grpSpPr>
          <a:xfrm>
            <a:off x="404813" y="1879600"/>
            <a:ext cx="5395912" cy="4393716"/>
            <a:chOff x="404813" y="1879600"/>
            <a:chExt cx="5395912" cy="4393716"/>
          </a:xfrm>
        </p:grpSpPr>
        <p:sp>
          <p:nvSpPr>
            <p:cNvPr id="21" name="Textplatzhalter 2">
              <a:extLst>
                <a:ext uri="{FF2B5EF4-FFF2-40B4-BE49-F238E27FC236}">
                  <a16:creationId xmlns:a16="http://schemas.microsoft.com/office/drawing/2014/main" id="{96B37BE0-6539-4B0A-8581-6F8DD546E247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/>
                <a:t>Text</a:t>
              </a:r>
              <a:endParaRPr lang="fr-FR" b="1" dirty="0"/>
            </a:p>
          </p:txBody>
        </p:sp>
        <p:sp>
          <p:nvSpPr>
            <p:cNvPr id="22" name="Textplatzhalter 2">
              <a:extLst>
                <a:ext uri="{FF2B5EF4-FFF2-40B4-BE49-F238E27FC236}">
                  <a16:creationId xmlns:a16="http://schemas.microsoft.com/office/drawing/2014/main" id="{49C267F3-4260-444E-B01C-324885288DA1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3" name="Textplatzhalter 2">
              <a:extLst>
                <a:ext uri="{FF2B5EF4-FFF2-40B4-BE49-F238E27FC236}">
                  <a16:creationId xmlns:a16="http://schemas.microsoft.com/office/drawing/2014/main" id="{C44735C3-B208-42C7-BDEB-9E8743F498A3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4" name="Textplatzhalter 2">
              <a:extLst>
                <a:ext uri="{FF2B5EF4-FFF2-40B4-BE49-F238E27FC236}">
                  <a16:creationId xmlns:a16="http://schemas.microsoft.com/office/drawing/2014/main" id="{2EE1A6B9-9D44-43A3-9A59-10A6D6597FC1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5" name="Textplatzhalter 2">
              <a:extLst>
                <a:ext uri="{FF2B5EF4-FFF2-40B4-BE49-F238E27FC236}">
                  <a16:creationId xmlns:a16="http://schemas.microsoft.com/office/drawing/2014/main" id="{B12154F8-8DA2-451B-97FD-CDE38CA1E4A3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E65BE5E-E370-4AE6-AF38-5FEA37EA61AD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EC608571-8F3E-415C-9EC2-8AF90987361A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751883E7-C0C1-4B36-8464-E113990487A2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2F2E0AD-C7A3-455F-AF33-8355835416F0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DD48F84-F6D5-4341-BFFD-FE99BF270759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6527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  <a:br>
              <a:rPr lang="de-DE" dirty="0"/>
            </a:br>
            <a:r>
              <a:rPr lang="de-DE" dirty="0"/>
              <a:t>mit </a:t>
            </a:r>
            <a:r>
              <a:rPr lang="de-DE" dirty="0" err="1"/>
              <a:t>Komentar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8</a:t>
            </a:fld>
            <a:endParaRPr lang="de-DE" dirty="0"/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3D888964-C7D4-4016-9D9A-A2BDBD1FF017}"/>
              </a:ext>
            </a:extLst>
          </p:cNvPr>
          <p:cNvSpPr/>
          <p:nvPr/>
        </p:nvSpPr>
        <p:spPr>
          <a:xfrm>
            <a:off x="3422125" y="1881188"/>
            <a:ext cx="700295" cy="828000"/>
          </a:xfrm>
          <a:custGeom>
            <a:avLst/>
            <a:gdLst>
              <a:gd name="connsiteX0" fmla="*/ 700160 w 700295"/>
              <a:gd name="connsiteY0" fmla="*/ 0 h 828000"/>
              <a:gd name="connsiteX1" fmla="*/ 700295 w 700295"/>
              <a:gd name="connsiteY1" fmla="*/ 160 h 828000"/>
              <a:gd name="connsiteX2" fmla="*/ 700295 w 700295"/>
              <a:gd name="connsiteY2" fmla="*/ 828000 h 828000"/>
              <a:gd name="connsiteX3" fmla="*/ 0 w 70029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295" h="828000">
                <a:moveTo>
                  <a:pt x="700160" y="0"/>
                </a:moveTo>
                <a:lnTo>
                  <a:pt x="700295" y="160"/>
                </a:lnTo>
                <a:lnTo>
                  <a:pt x="700295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B22DA563-5C3E-4056-B03F-3E4355DC7EA8}"/>
              </a:ext>
            </a:extLst>
          </p:cNvPr>
          <p:cNvSpPr/>
          <p:nvPr/>
        </p:nvSpPr>
        <p:spPr>
          <a:xfrm>
            <a:off x="2668666" y="2772220"/>
            <a:ext cx="1453755" cy="828000"/>
          </a:xfrm>
          <a:custGeom>
            <a:avLst/>
            <a:gdLst>
              <a:gd name="connsiteX0" fmla="*/ 700160 w 1453755"/>
              <a:gd name="connsiteY0" fmla="*/ 0 h 828000"/>
              <a:gd name="connsiteX1" fmla="*/ 1453755 w 1453755"/>
              <a:gd name="connsiteY1" fmla="*/ 0 h 828000"/>
              <a:gd name="connsiteX2" fmla="*/ 1453755 w 1453755"/>
              <a:gd name="connsiteY2" fmla="*/ 828000 h 828000"/>
              <a:gd name="connsiteX3" fmla="*/ 0 w 145375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3755" h="828000">
                <a:moveTo>
                  <a:pt x="700160" y="0"/>
                </a:moveTo>
                <a:lnTo>
                  <a:pt x="1453755" y="0"/>
                </a:lnTo>
                <a:lnTo>
                  <a:pt x="145375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B248B17D-E3F9-4677-B622-4A159CE5940F}"/>
              </a:ext>
            </a:extLst>
          </p:cNvPr>
          <p:cNvSpPr/>
          <p:nvPr/>
        </p:nvSpPr>
        <p:spPr>
          <a:xfrm>
            <a:off x="1915205" y="3663252"/>
            <a:ext cx="2207215" cy="828000"/>
          </a:xfrm>
          <a:custGeom>
            <a:avLst/>
            <a:gdLst>
              <a:gd name="connsiteX0" fmla="*/ 700160 w 2207215"/>
              <a:gd name="connsiteY0" fmla="*/ 0 h 828000"/>
              <a:gd name="connsiteX1" fmla="*/ 2207215 w 2207215"/>
              <a:gd name="connsiteY1" fmla="*/ 0 h 828000"/>
              <a:gd name="connsiteX2" fmla="*/ 2207215 w 2207215"/>
              <a:gd name="connsiteY2" fmla="*/ 828000 h 828000"/>
              <a:gd name="connsiteX3" fmla="*/ 0 w 220721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7215" h="828000">
                <a:moveTo>
                  <a:pt x="700160" y="0"/>
                </a:moveTo>
                <a:lnTo>
                  <a:pt x="2207215" y="0"/>
                </a:lnTo>
                <a:lnTo>
                  <a:pt x="220721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E9F8379-6DDA-498F-A2EC-F84943CE9C21}"/>
              </a:ext>
            </a:extLst>
          </p:cNvPr>
          <p:cNvSpPr/>
          <p:nvPr/>
        </p:nvSpPr>
        <p:spPr>
          <a:xfrm>
            <a:off x="1161744" y="4554284"/>
            <a:ext cx="2960676" cy="828000"/>
          </a:xfrm>
          <a:custGeom>
            <a:avLst/>
            <a:gdLst>
              <a:gd name="connsiteX0" fmla="*/ 700160 w 2960676"/>
              <a:gd name="connsiteY0" fmla="*/ 0 h 828000"/>
              <a:gd name="connsiteX1" fmla="*/ 2960676 w 2960676"/>
              <a:gd name="connsiteY1" fmla="*/ 0 h 828000"/>
              <a:gd name="connsiteX2" fmla="*/ 2960676 w 2960676"/>
              <a:gd name="connsiteY2" fmla="*/ 828000 h 828000"/>
              <a:gd name="connsiteX3" fmla="*/ 0 w 296067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0676" h="828000">
                <a:moveTo>
                  <a:pt x="700160" y="0"/>
                </a:moveTo>
                <a:lnTo>
                  <a:pt x="2960676" y="0"/>
                </a:lnTo>
                <a:lnTo>
                  <a:pt x="296067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FB0C9797-1BBE-4B3C-9416-056A3FDEAFB2}"/>
              </a:ext>
            </a:extLst>
          </p:cNvPr>
          <p:cNvSpPr/>
          <p:nvPr/>
        </p:nvSpPr>
        <p:spPr>
          <a:xfrm>
            <a:off x="408284" y="5445316"/>
            <a:ext cx="3714136" cy="828000"/>
          </a:xfrm>
          <a:custGeom>
            <a:avLst/>
            <a:gdLst>
              <a:gd name="connsiteX0" fmla="*/ 700160 w 3714136"/>
              <a:gd name="connsiteY0" fmla="*/ 0 h 828000"/>
              <a:gd name="connsiteX1" fmla="*/ 3714136 w 3714136"/>
              <a:gd name="connsiteY1" fmla="*/ 0 h 828000"/>
              <a:gd name="connsiteX2" fmla="*/ 3714136 w 3714136"/>
              <a:gd name="connsiteY2" fmla="*/ 828000 h 828000"/>
              <a:gd name="connsiteX3" fmla="*/ 0 w 371413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4136" h="828000">
                <a:moveTo>
                  <a:pt x="700160" y="0"/>
                </a:moveTo>
                <a:lnTo>
                  <a:pt x="3714136" y="0"/>
                </a:lnTo>
                <a:lnTo>
                  <a:pt x="371413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8FB445A-F706-4C62-B773-799774086AC3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2AD32C8-8D87-4FEE-A386-D448BFF301BF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8AC49F2-96E3-4612-AAFA-EA1BA3E43243}"/>
              </a:ext>
            </a:extLst>
          </p:cNvPr>
          <p:cNvGrpSpPr/>
          <p:nvPr/>
        </p:nvGrpSpPr>
        <p:grpSpPr>
          <a:xfrm>
            <a:off x="4187192" y="2740704"/>
            <a:ext cx="324632" cy="2673096"/>
            <a:chOff x="4187192" y="2740704"/>
            <a:chExt cx="3636000" cy="2673096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240482C0-E4B2-4098-AD15-97DCCB18DF37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2740704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778A81A7-8642-4211-9FF2-BB27E8F6CA02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3631736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64EC4B6A-6AB6-42D9-8F62-93824A81FD7E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4522768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EE19B93-C318-44B4-8199-0D3FBD3BC818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5413800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4367213" y="190273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3431704" y="1881188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D27D2DA-C2C3-43A9-83FB-BA417AE9510E}"/>
              </a:ext>
            </a:extLst>
          </p:cNvPr>
          <p:cNvSpPr/>
          <p:nvPr/>
        </p:nvSpPr>
        <p:spPr>
          <a:xfrm>
            <a:off x="3431704" y="2772220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1C1F7C9-D8BB-497F-9A4A-FB06916B22E2}"/>
              </a:ext>
            </a:extLst>
          </p:cNvPr>
          <p:cNvSpPr/>
          <p:nvPr/>
        </p:nvSpPr>
        <p:spPr>
          <a:xfrm>
            <a:off x="3431704" y="3663252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50CF08C-C5A3-4588-B185-FFCB7F6B6100}"/>
              </a:ext>
            </a:extLst>
          </p:cNvPr>
          <p:cNvSpPr/>
          <p:nvPr/>
        </p:nvSpPr>
        <p:spPr>
          <a:xfrm>
            <a:off x="3431704" y="4554284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32EEC68-B967-4B85-AA3F-368D3E55E555}"/>
              </a:ext>
            </a:extLst>
          </p:cNvPr>
          <p:cNvSpPr/>
          <p:nvPr/>
        </p:nvSpPr>
        <p:spPr>
          <a:xfrm>
            <a:off x="3431704" y="5445316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995501B-1456-4D1D-9D20-656457B9332B}"/>
              </a:ext>
            </a:extLst>
          </p:cNvPr>
          <p:cNvSpPr txBox="1">
            <a:spLocks/>
          </p:cNvSpPr>
          <p:nvPr/>
        </p:nvSpPr>
        <p:spPr>
          <a:xfrm>
            <a:off x="4367808" y="2762249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66D91981-4E48-490F-AD64-EF3C6D3712EF}"/>
              </a:ext>
            </a:extLst>
          </p:cNvPr>
          <p:cNvSpPr txBox="1">
            <a:spLocks/>
          </p:cNvSpPr>
          <p:nvPr/>
        </p:nvSpPr>
        <p:spPr>
          <a:xfrm>
            <a:off x="4368403" y="3653281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57E08324-74FE-45EE-810A-5CA51CE31103}"/>
              </a:ext>
            </a:extLst>
          </p:cNvPr>
          <p:cNvSpPr txBox="1">
            <a:spLocks/>
          </p:cNvSpPr>
          <p:nvPr/>
        </p:nvSpPr>
        <p:spPr>
          <a:xfrm>
            <a:off x="4368998" y="454431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461353A7-35F3-46B7-BE7B-7CFEFBDEBD4E}"/>
              </a:ext>
            </a:extLst>
          </p:cNvPr>
          <p:cNvSpPr txBox="1">
            <a:spLocks/>
          </p:cNvSpPr>
          <p:nvPr/>
        </p:nvSpPr>
        <p:spPr>
          <a:xfrm>
            <a:off x="4369593" y="5435345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170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E623BE2-80A1-47B3-851B-1AFA74A75E3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9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42912" y="5523961"/>
            <a:ext cx="7344000" cy="713327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88AF6B80-63A6-4099-86E3-11955FDF6A96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79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79EB251-C955-48D2-B4E4-C0C4A5B09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4389B7-E72C-41B8-B7DA-A5DBF7262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9E9A708-02D0-4835-9FEE-A61E06FD2B5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endParaRPr lang="de-DE" dirty="0"/>
          </a:p>
          <a:p>
            <a:pPr>
              <a:buAutoNum type="arabicPeriod" startAt="8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94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6AE2975-CA50-4460-8753-096C0920A9D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C938A882-9D89-4843-B962-B91A9F171629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0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6F19CD84-24C4-43E9-B408-9A22E483F90C}"/>
              </a:ext>
            </a:extLst>
          </p:cNvPr>
          <p:cNvCxnSpPr/>
          <p:nvPr/>
        </p:nvCxnSpPr>
        <p:spPr>
          <a:xfrm>
            <a:off x="407988" y="5517232"/>
            <a:ext cx="7416800" cy="0"/>
          </a:xfrm>
          <a:prstGeom prst="line">
            <a:avLst/>
          </a:prstGeom>
          <a:solidFill>
            <a:srgbClr val="F0F0F0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B7965A07-DF97-4E2C-8F05-0F2BAA081B79}"/>
              </a:ext>
            </a:extLst>
          </p:cNvPr>
          <p:cNvSpPr txBox="1">
            <a:spLocks/>
          </p:cNvSpPr>
          <p:nvPr/>
        </p:nvSpPr>
        <p:spPr>
          <a:xfrm>
            <a:off x="407988" y="5523961"/>
            <a:ext cx="7416800" cy="749839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C4C6BA39-485C-4775-86D1-C41178792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47928" y="2924944"/>
            <a:ext cx="698238" cy="69823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D584251-0525-06BF-7BB1-083C234CDF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2000" y="2926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AB76AFB-D92B-26FE-AB32-11EDAC3221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7600" y="2926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36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725CC7-0E7F-4A3B-9CB3-CC3F0C1A141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7D00D33A-E4BD-415A-A7DA-59354B438C39}"/>
              </a:ext>
            </a:extLst>
          </p:cNvPr>
          <p:cNvSpPr/>
          <p:nvPr/>
        </p:nvSpPr>
        <p:spPr>
          <a:xfrm>
            <a:off x="407367" y="1882140"/>
            <a:ext cx="7488822" cy="4391661"/>
          </a:xfrm>
          <a:custGeom>
            <a:avLst/>
            <a:gdLst>
              <a:gd name="connsiteX0" fmla="*/ 4788720 w 7488822"/>
              <a:gd name="connsiteY0" fmla="*/ 964552 h 4391661"/>
              <a:gd name="connsiteX1" fmla="*/ 4788720 w 7488822"/>
              <a:gd name="connsiteY1" fmla="*/ 3628365 h 4391661"/>
              <a:gd name="connsiteX2" fmla="*/ 5077100 w 7488822"/>
              <a:gd name="connsiteY2" fmla="*/ 3628365 h 4391661"/>
              <a:gd name="connsiteX3" fmla="*/ 5077100 w 7488822"/>
              <a:gd name="connsiteY3" fmla="*/ 964552 h 4391661"/>
              <a:gd name="connsiteX4" fmla="*/ 2412340 w 7488822"/>
              <a:gd name="connsiteY4" fmla="*/ 964552 h 4391661"/>
              <a:gd name="connsiteX5" fmla="*/ 2412340 w 7488822"/>
              <a:gd name="connsiteY5" fmla="*/ 3628365 h 4391661"/>
              <a:gd name="connsiteX6" fmla="*/ 2700720 w 7488822"/>
              <a:gd name="connsiteY6" fmla="*/ 3628365 h 4391661"/>
              <a:gd name="connsiteX7" fmla="*/ 2700720 w 7488822"/>
              <a:gd name="connsiteY7" fmla="*/ 964552 h 4391661"/>
              <a:gd name="connsiteX8" fmla="*/ 3744721 w 7488822"/>
              <a:gd name="connsiteY8" fmla="*/ 0 h 4391661"/>
              <a:gd name="connsiteX9" fmla="*/ 7488822 w 7488822"/>
              <a:gd name="connsiteY9" fmla="*/ 964552 h 4391661"/>
              <a:gd name="connsiteX10" fmla="*/ 7165100 w 7488822"/>
              <a:gd name="connsiteY10" fmla="*/ 964552 h 4391661"/>
              <a:gd name="connsiteX11" fmla="*/ 7165100 w 7488822"/>
              <a:gd name="connsiteY11" fmla="*/ 3628365 h 4391661"/>
              <a:gd name="connsiteX12" fmla="*/ 7382316 w 7488822"/>
              <a:gd name="connsiteY12" fmla="*/ 3628365 h 4391661"/>
              <a:gd name="connsiteX13" fmla="*/ 7417420 w 7488822"/>
              <a:gd name="connsiteY13" fmla="*/ 3663469 h 4391661"/>
              <a:gd name="connsiteX14" fmla="*/ 7417420 w 7488822"/>
              <a:gd name="connsiteY14" fmla="*/ 4356557 h 4391661"/>
              <a:gd name="connsiteX15" fmla="*/ 7382316 w 7488822"/>
              <a:gd name="connsiteY15" fmla="*/ 4391661 h 4391661"/>
              <a:gd name="connsiteX16" fmla="*/ 35104 w 7488822"/>
              <a:gd name="connsiteY16" fmla="*/ 4391661 h 4391661"/>
              <a:gd name="connsiteX17" fmla="*/ 0 w 7488822"/>
              <a:gd name="connsiteY17" fmla="*/ 4356557 h 4391661"/>
              <a:gd name="connsiteX18" fmla="*/ 0 w 7488822"/>
              <a:gd name="connsiteY18" fmla="*/ 3663469 h 4391661"/>
              <a:gd name="connsiteX19" fmla="*/ 35104 w 7488822"/>
              <a:gd name="connsiteY19" fmla="*/ 3628365 h 4391661"/>
              <a:gd name="connsiteX20" fmla="*/ 324340 w 7488822"/>
              <a:gd name="connsiteY20" fmla="*/ 3628365 h 4391661"/>
              <a:gd name="connsiteX21" fmla="*/ 324340 w 7488822"/>
              <a:gd name="connsiteY21" fmla="*/ 964552 h 4391661"/>
              <a:gd name="connsiteX22" fmla="*/ 619 w 7488822"/>
              <a:gd name="connsiteY22" fmla="*/ 964552 h 4391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488822" h="4391661">
                <a:moveTo>
                  <a:pt x="4788720" y="964552"/>
                </a:moveTo>
                <a:lnTo>
                  <a:pt x="4788720" y="3628365"/>
                </a:lnTo>
                <a:lnTo>
                  <a:pt x="5077100" y="3628365"/>
                </a:lnTo>
                <a:lnTo>
                  <a:pt x="5077100" y="964552"/>
                </a:lnTo>
                <a:close/>
                <a:moveTo>
                  <a:pt x="2412340" y="964552"/>
                </a:moveTo>
                <a:lnTo>
                  <a:pt x="2412340" y="3628365"/>
                </a:lnTo>
                <a:lnTo>
                  <a:pt x="2700720" y="3628365"/>
                </a:lnTo>
                <a:lnTo>
                  <a:pt x="2700720" y="964552"/>
                </a:lnTo>
                <a:close/>
                <a:moveTo>
                  <a:pt x="3744721" y="0"/>
                </a:moveTo>
                <a:lnTo>
                  <a:pt x="7488822" y="964552"/>
                </a:lnTo>
                <a:lnTo>
                  <a:pt x="7165100" y="964552"/>
                </a:lnTo>
                <a:lnTo>
                  <a:pt x="7165100" y="3628365"/>
                </a:lnTo>
                <a:lnTo>
                  <a:pt x="7382316" y="3628365"/>
                </a:lnTo>
                <a:cubicBezTo>
                  <a:pt x="7401703" y="3628365"/>
                  <a:pt x="7417420" y="3644082"/>
                  <a:pt x="7417420" y="3663469"/>
                </a:cubicBezTo>
                <a:lnTo>
                  <a:pt x="7417420" y="4356557"/>
                </a:lnTo>
                <a:cubicBezTo>
                  <a:pt x="7417420" y="4375944"/>
                  <a:pt x="7401703" y="4391661"/>
                  <a:pt x="7382316" y="4391661"/>
                </a:cubicBezTo>
                <a:lnTo>
                  <a:pt x="35104" y="4391661"/>
                </a:lnTo>
                <a:cubicBezTo>
                  <a:pt x="15717" y="4391661"/>
                  <a:pt x="0" y="4375944"/>
                  <a:pt x="0" y="4356557"/>
                </a:cubicBezTo>
                <a:lnTo>
                  <a:pt x="0" y="3663469"/>
                </a:lnTo>
                <a:cubicBezTo>
                  <a:pt x="0" y="3644082"/>
                  <a:pt x="15717" y="3628365"/>
                  <a:pt x="35104" y="3628365"/>
                </a:cubicBezTo>
                <a:lnTo>
                  <a:pt x="324340" y="3628365"/>
                </a:lnTo>
                <a:lnTo>
                  <a:pt x="324340" y="964552"/>
                </a:lnTo>
                <a:lnTo>
                  <a:pt x="619" y="964552"/>
                </a:lnTo>
                <a:close/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1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07988" y="5512469"/>
            <a:ext cx="7416800" cy="761331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839416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73E3764-4A73-44BF-8499-EC8D6BB5DB51}"/>
              </a:ext>
            </a:extLst>
          </p:cNvPr>
          <p:cNvCxnSpPr>
            <a:cxnSpLocks/>
          </p:cNvCxnSpPr>
          <p:nvPr/>
        </p:nvCxnSpPr>
        <p:spPr>
          <a:xfrm>
            <a:off x="3215680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882BB75-CA69-4394-8F3C-05D81AE77FC7}"/>
              </a:ext>
            </a:extLst>
          </p:cNvPr>
          <p:cNvCxnSpPr>
            <a:cxnSpLocks/>
          </p:cNvCxnSpPr>
          <p:nvPr/>
        </p:nvCxnSpPr>
        <p:spPr>
          <a:xfrm>
            <a:off x="5591944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FDF5111-927A-4F9C-AC77-305EEE938247}"/>
              </a:ext>
            </a:extLst>
          </p:cNvPr>
          <p:cNvSpPr txBox="1">
            <a:spLocks/>
          </p:cNvSpPr>
          <p:nvPr/>
        </p:nvSpPr>
        <p:spPr>
          <a:xfrm>
            <a:off x="839416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975E594-2868-49AC-A054-2D42CC40DC67}"/>
              </a:ext>
            </a:extLst>
          </p:cNvPr>
          <p:cNvSpPr txBox="1">
            <a:spLocks/>
          </p:cNvSpPr>
          <p:nvPr/>
        </p:nvSpPr>
        <p:spPr>
          <a:xfrm>
            <a:off x="3215680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EBE0E8DA-FEF6-41EE-82FB-7253D74C2157}"/>
              </a:ext>
            </a:extLst>
          </p:cNvPr>
          <p:cNvSpPr txBox="1">
            <a:spLocks/>
          </p:cNvSpPr>
          <p:nvPr/>
        </p:nvSpPr>
        <p:spPr>
          <a:xfrm>
            <a:off x="5591944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E9364C1-C0D3-42C4-8FBA-B2E5D91D31AB}"/>
              </a:ext>
            </a:extLst>
          </p:cNvPr>
          <p:cNvCxnSpPr>
            <a:cxnSpLocks/>
          </p:cNvCxnSpPr>
          <p:nvPr/>
        </p:nvCxnSpPr>
        <p:spPr>
          <a:xfrm>
            <a:off x="839416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DAF91AD-3862-4A79-A979-AD01BABABB66}"/>
              </a:ext>
            </a:extLst>
          </p:cNvPr>
          <p:cNvCxnSpPr>
            <a:cxnSpLocks/>
          </p:cNvCxnSpPr>
          <p:nvPr/>
        </p:nvCxnSpPr>
        <p:spPr>
          <a:xfrm>
            <a:off x="3215680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D9F22BDB-274E-4024-A25D-11E6E257D582}"/>
              </a:ext>
            </a:extLst>
          </p:cNvPr>
          <p:cNvCxnSpPr>
            <a:cxnSpLocks/>
          </p:cNvCxnSpPr>
          <p:nvPr/>
        </p:nvCxnSpPr>
        <p:spPr>
          <a:xfrm>
            <a:off x="5591944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3299A2C4-26ED-4FC3-90E1-2C67D2EEF9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E354010-F058-4002-A83D-1A8A29357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1944" y="3126806"/>
            <a:ext cx="698238" cy="698238"/>
          </a:xfrm>
          <a:prstGeom prst="rect">
            <a:avLst/>
          </a:prstGeom>
        </p:spPr>
      </p:pic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FA58CAAA-06B0-4180-8995-61909FA4C856}"/>
              </a:ext>
            </a:extLst>
          </p:cNvPr>
          <p:cNvSpPr txBox="1">
            <a:spLocks/>
          </p:cNvSpPr>
          <p:nvPr/>
        </p:nvSpPr>
        <p:spPr>
          <a:xfrm>
            <a:off x="585652" y="5661249"/>
            <a:ext cx="7058520" cy="4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tx1"/>
                </a:solidFill>
              </a:rPr>
              <a:t>Tex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7B7D299-6F3B-657D-5B95-397F90FDA4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8800" y="31284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85675E2-DA72-2A8C-B0F1-40D7BC21E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14800" y="31284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53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F651A8-EDAA-4803-A9A5-02F42E489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uck von vier S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6699D69-306A-4BC5-A22D-106DE18E6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05C25A-1795-4B6B-8898-9E2E68BEA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2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A567F0-29EF-4FEC-BD6A-BFBDE3A47ADD}"/>
              </a:ext>
            </a:extLst>
          </p:cNvPr>
          <p:cNvSpPr/>
          <p:nvPr/>
        </p:nvSpPr>
        <p:spPr>
          <a:xfrm>
            <a:off x="4262174" y="3393072"/>
            <a:ext cx="3672000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98F1AEF2-159A-4E1B-9918-CAEBD8E8F3D9}"/>
              </a:ext>
            </a:extLst>
          </p:cNvPr>
          <p:cNvSpPr txBox="1">
            <a:spLocks/>
          </p:cNvSpPr>
          <p:nvPr/>
        </p:nvSpPr>
        <p:spPr>
          <a:xfrm>
            <a:off x="6096001" y="1844675"/>
            <a:ext cx="5688012" cy="1080000"/>
          </a:xfrm>
          <a:prstGeom prst="rect">
            <a:avLst/>
          </a:prstGeom>
        </p:spPr>
        <p:txBody>
          <a:bodyPr vert="horz" lIns="108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br>
              <a:rPr lang="en-US" dirty="0"/>
            </a:br>
            <a:r>
              <a:rPr lang="en-US" dirty="0" err="1"/>
              <a:t>elit</a:t>
            </a:r>
            <a:r>
              <a:rPr lang="en-US" dirty="0"/>
              <a:t>.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1E302A2-52D8-448C-9BCE-24873DFB3273}"/>
              </a:ext>
            </a:extLst>
          </p:cNvPr>
          <p:cNvSpPr txBox="1">
            <a:spLocks/>
          </p:cNvSpPr>
          <p:nvPr/>
        </p:nvSpPr>
        <p:spPr>
          <a:xfrm>
            <a:off x="407368" y="1880344"/>
            <a:ext cx="3294918" cy="2196728"/>
          </a:xfrm>
          <a:prstGeom prst="rect">
            <a:avLst/>
          </a:prstGeom>
        </p:spPr>
        <p:txBody>
          <a:bodyPr vert="horz" lIns="0" tIns="0" rIns="0" bIns="108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C191BB3-F1A5-4BBD-8E94-4E3D6FFB5D44}"/>
              </a:ext>
            </a:extLst>
          </p:cNvPr>
          <p:cNvSpPr txBox="1">
            <a:spLocks/>
          </p:cNvSpPr>
          <p:nvPr/>
        </p:nvSpPr>
        <p:spPr>
          <a:xfrm>
            <a:off x="8760632" y="4077072"/>
            <a:ext cx="3024000" cy="219672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507CC79-15C5-4219-9A52-10E5A53DC68F}"/>
              </a:ext>
            </a:extLst>
          </p:cNvPr>
          <p:cNvSpPr txBox="1">
            <a:spLocks/>
          </p:cNvSpPr>
          <p:nvPr/>
        </p:nvSpPr>
        <p:spPr>
          <a:xfrm>
            <a:off x="407989" y="5193316"/>
            <a:ext cx="5688012" cy="1080000"/>
          </a:xfrm>
          <a:prstGeom prst="rect">
            <a:avLst/>
          </a:prstGeom>
        </p:spPr>
        <p:txBody>
          <a:bodyPr vert="horz" lIns="0" tIns="0" rIns="1080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marL="0" lvl="2" indent="0" algn="r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C087549-AE02-45E4-9EF5-2EF31BD08868}"/>
              </a:ext>
            </a:extLst>
          </p:cNvPr>
          <p:cNvCxnSpPr>
            <a:cxnSpLocks/>
          </p:cNvCxnSpPr>
          <p:nvPr/>
        </p:nvCxnSpPr>
        <p:spPr>
          <a:xfrm flipH="1">
            <a:off x="8472264" y="4077072"/>
            <a:ext cx="3312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3BF6431B-1233-4ACA-A034-C8070027455A}"/>
              </a:ext>
            </a:extLst>
          </p:cNvPr>
          <p:cNvCxnSpPr>
            <a:cxnSpLocks/>
          </p:cNvCxnSpPr>
          <p:nvPr/>
        </p:nvCxnSpPr>
        <p:spPr>
          <a:xfrm>
            <a:off x="407988" y="4077072"/>
            <a:ext cx="331174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59BF219-45FA-4ADB-92CC-588842D9CF7E}"/>
              </a:ext>
            </a:extLst>
          </p:cNvPr>
          <p:cNvCxnSpPr>
            <a:cxnSpLocks/>
          </p:cNvCxnSpPr>
          <p:nvPr/>
        </p:nvCxnSpPr>
        <p:spPr>
          <a:xfrm>
            <a:off x="6098174" y="1877475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 5">
            <a:extLst>
              <a:ext uri="{FF2B5EF4-FFF2-40B4-BE49-F238E27FC236}">
                <a16:creationId xmlns:a16="http://schemas.microsoft.com/office/drawing/2014/main" id="{B1A6EBA6-AB46-4A2A-8FC6-6B5266826592}"/>
              </a:ext>
            </a:extLst>
          </p:cNvPr>
          <p:cNvSpPr>
            <a:spLocks/>
          </p:cNvSpPr>
          <p:nvPr/>
        </p:nvSpPr>
        <p:spPr bwMode="auto">
          <a:xfrm rot="5400000">
            <a:off x="5959111" y="29248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7" name="Freeform 5">
            <a:extLst>
              <a:ext uri="{FF2B5EF4-FFF2-40B4-BE49-F238E27FC236}">
                <a16:creationId xmlns:a16="http://schemas.microsoft.com/office/drawing/2014/main" id="{DBC8C1AD-C12B-421A-89F4-FB9189B9EEDB}"/>
              </a:ext>
            </a:extLst>
          </p:cNvPr>
          <p:cNvSpPr>
            <a:spLocks/>
          </p:cNvSpPr>
          <p:nvPr/>
        </p:nvSpPr>
        <p:spPr bwMode="auto">
          <a:xfrm flipH="1">
            <a:off x="8097678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id="{DAB75281-0A16-43C9-BD0D-80EC522F5A54}"/>
              </a:ext>
            </a:extLst>
          </p:cNvPr>
          <p:cNvSpPr>
            <a:spLocks/>
          </p:cNvSpPr>
          <p:nvPr/>
        </p:nvSpPr>
        <p:spPr bwMode="auto">
          <a:xfrm>
            <a:off x="3852195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0" name="Freeform 5">
            <a:extLst>
              <a:ext uri="{FF2B5EF4-FFF2-40B4-BE49-F238E27FC236}">
                <a16:creationId xmlns:a16="http://schemas.microsoft.com/office/drawing/2014/main" id="{28B649E5-9C7C-4331-8B4D-51D0964A02B8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5959111" y="4820379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8F68D42-3DC1-4386-A91E-693C60079768}"/>
              </a:ext>
            </a:extLst>
          </p:cNvPr>
          <p:cNvCxnSpPr>
            <a:cxnSpLocks/>
          </p:cNvCxnSpPr>
          <p:nvPr/>
        </p:nvCxnSpPr>
        <p:spPr>
          <a:xfrm>
            <a:off x="6096000" y="5193196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8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3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407988" y="3045197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407988" y="420920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407988" y="537321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AF231EA-0FEE-41B2-BA6F-356E497BF629}"/>
              </a:ext>
            </a:extLst>
          </p:cNvPr>
          <p:cNvCxnSpPr>
            <a:cxnSpLocks/>
          </p:cNvCxnSpPr>
          <p:nvPr/>
        </p:nvCxnSpPr>
        <p:spPr>
          <a:xfrm>
            <a:off x="767968" y="289519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136324B-CFE3-417C-A850-B0B99843BC40}"/>
              </a:ext>
            </a:extLst>
          </p:cNvPr>
          <p:cNvCxnSpPr>
            <a:cxnSpLocks/>
          </p:cNvCxnSpPr>
          <p:nvPr/>
        </p:nvCxnSpPr>
        <p:spPr>
          <a:xfrm>
            <a:off x="767968" y="405920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B88C9E5-492A-474A-A3E6-7B9774BC7138}"/>
              </a:ext>
            </a:extLst>
          </p:cNvPr>
          <p:cNvCxnSpPr>
            <a:cxnSpLocks/>
          </p:cNvCxnSpPr>
          <p:nvPr/>
        </p:nvCxnSpPr>
        <p:spPr>
          <a:xfrm>
            <a:off x="767968" y="522321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>
                <a:solidFill>
                  <a:schemeClr val="tx1"/>
                </a:solidFill>
              </a:rPr>
              <a:t>dolor sit amet consect etuer.</a:t>
            </a:r>
            <a:endParaRPr lang="de-DE" sz="2400" dirty="0">
              <a:solidFill>
                <a:schemeClr val="tx1"/>
              </a:solidFill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B622CA17-E7A9-4EF1-872A-F3248BA5CFD7}"/>
              </a:ext>
            </a:extLst>
          </p:cNvPr>
          <p:cNvCxnSpPr>
            <a:cxnSpLocks/>
          </p:cNvCxnSpPr>
          <p:nvPr/>
        </p:nvCxnSpPr>
        <p:spPr>
          <a:xfrm>
            <a:off x="443372" y="188118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BC3166EC-F6C7-46E0-876A-B4C923561D51}"/>
              </a:ext>
            </a:extLst>
          </p:cNvPr>
          <p:cNvCxnSpPr>
            <a:cxnSpLocks/>
          </p:cNvCxnSpPr>
          <p:nvPr/>
        </p:nvCxnSpPr>
        <p:spPr>
          <a:xfrm>
            <a:off x="443372" y="304519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8DFCDA71-30E1-4B27-A15B-6D17C43F707C}"/>
              </a:ext>
            </a:extLst>
          </p:cNvPr>
          <p:cNvCxnSpPr>
            <a:cxnSpLocks/>
          </p:cNvCxnSpPr>
          <p:nvPr/>
        </p:nvCxnSpPr>
        <p:spPr>
          <a:xfrm>
            <a:off x="443372" y="420920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2D125D9-C405-471E-9AAE-FFA2205C9AFF}"/>
              </a:ext>
            </a:extLst>
          </p:cNvPr>
          <p:cNvCxnSpPr>
            <a:cxnSpLocks/>
          </p:cNvCxnSpPr>
          <p:nvPr/>
        </p:nvCxnSpPr>
        <p:spPr>
          <a:xfrm>
            <a:off x="443372" y="5373216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1A0F9FA9-0225-4774-BE65-99D1B7BAA2A0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BD2E8A10-B419-4780-BB7D-1692CEECFC62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6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4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1343472" y="1881188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1343472" y="3045197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1343472" y="420920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1343472" y="537321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4A92A6-D6AF-4F22-86D2-B68520CCFD73}"/>
              </a:ext>
            </a:extLst>
          </p:cNvPr>
          <p:cNvGrpSpPr/>
          <p:nvPr/>
        </p:nvGrpSpPr>
        <p:grpSpPr>
          <a:xfrm>
            <a:off x="407988" y="2895193"/>
            <a:ext cx="5399980" cy="2328020"/>
            <a:chOff x="767968" y="2895193"/>
            <a:chExt cx="5040000" cy="2328020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9AF231EA-0FEE-41B2-BA6F-356E497BF629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289519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136324B-CFE3-417C-A850-B0B99843BC40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405920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B88C9E5-492A-474A-A3E6-7B9774BC7138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522321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>
                <a:solidFill>
                  <a:schemeClr val="tx1"/>
                </a:solidFill>
              </a:rPr>
              <a:t>dolor sit amet consect etuer.</a:t>
            </a:r>
            <a:endParaRPr lang="de-DE" sz="2400" dirty="0">
              <a:solidFill>
                <a:schemeClr val="tx1"/>
              </a:solidFill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EB94309-6906-490D-B951-43A3B5E372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292087"/>
            <a:ext cx="698238" cy="69823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71E735C-A368-4157-A20E-5F9D90FDDA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5456097"/>
            <a:ext cx="698238" cy="698238"/>
          </a:xfrm>
          <a:prstGeom prst="rect">
            <a:avLst/>
          </a:prstGeom>
        </p:spPr>
      </p:pic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78506BD-7997-427E-9DE9-90095FD0ECF6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189665E6-1BF9-4CA0-9612-8D56AC26EDA0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7073410-2FC1-E15D-9455-BE86BDD257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800" y="1965600"/>
            <a:ext cx="698400" cy="6984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C922E6C-141B-CBC4-79CF-261A37AC55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6800" y="31284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03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E44FB4B-9C48-4BD5-AE15-557E7165C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eichgewicht herstel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7996AE-A696-420C-940E-79E5B7FB4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1D715F-EC17-4886-BA69-C4B105CF5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5</a:t>
            </a:fld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DABEE92-E5E0-4862-98C9-F89491E3632F}"/>
              </a:ext>
            </a:extLst>
          </p:cNvPr>
          <p:cNvGrpSpPr/>
          <p:nvPr/>
        </p:nvGrpSpPr>
        <p:grpSpPr>
          <a:xfrm>
            <a:off x="2351584" y="5048696"/>
            <a:ext cx="7524836" cy="1225104"/>
            <a:chOff x="2351584" y="5048696"/>
            <a:chExt cx="7524836" cy="1225104"/>
          </a:xfrm>
          <a:solidFill>
            <a:srgbClr val="E4DAD4"/>
          </a:solidFill>
        </p:grpSpPr>
        <p:sp>
          <p:nvSpPr>
            <p:cNvPr id="11" name="Gleichschenkliges Dreieck 10">
              <a:extLst>
                <a:ext uri="{FF2B5EF4-FFF2-40B4-BE49-F238E27FC236}">
                  <a16:creationId xmlns:a16="http://schemas.microsoft.com/office/drawing/2014/main" id="{9C07FA2C-FAD8-484F-AAC8-B0BEAF8510CA}"/>
                </a:ext>
              </a:extLst>
            </p:cNvPr>
            <p:cNvSpPr/>
            <p:nvPr/>
          </p:nvSpPr>
          <p:spPr>
            <a:xfrm>
              <a:off x="5317684" y="5048696"/>
              <a:ext cx="1592636" cy="1225104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E536137-BABD-4775-86D0-406A2F12476B}"/>
                </a:ext>
              </a:extLst>
            </p:cNvPr>
            <p:cNvSpPr/>
            <p:nvPr/>
          </p:nvSpPr>
          <p:spPr>
            <a:xfrm>
              <a:off x="2351584" y="5265216"/>
              <a:ext cx="7524836" cy="108000"/>
            </a:xfrm>
            <a:prstGeom prst="rect">
              <a:avLst/>
            </a:prstGeom>
            <a:grpFill/>
            <a:ln w="762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EC293839-F25F-44CF-9B94-C2F8573ABC35}"/>
              </a:ext>
            </a:extLst>
          </p:cNvPr>
          <p:cNvSpPr/>
          <p:nvPr/>
        </p:nvSpPr>
        <p:spPr>
          <a:xfrm>
            <a:off x="3551947" y="4095012"/>
            <a:ext cx="1139897" cy="113989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A846C76-CDB7-4F20-8908-62434C3C6A47}"/>
              </a:ext>
            </a:extLst>
          </p:cNvPr>
          <p:cNvSpPr/>
          <p:nvPr/>
        </p:nvSpPr>
        <p:spPr>
          <a:xfrm>
            <a:off x="7644173" y="4274968"/>
            <a:ext cx="959941" cy="95994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2CF0A1C3-D3DD-4C00-A1D0-31973063A4DA}"/>
              </a:ext>
            </a:extLst>
          </p:cNvPr>
          <p:cNvSpPr txBox="1">
            <a:spLocks/>
          </p:cNvSpPr>
          <p:nvPr/>
        </p:nvSpPr>
        <p:spPr>
          <a:xfrm>
            <a:off x="8127314" y="1844675"/>
            <a:ext cx="3657317" cy="1602265"/>
          </a:xfrm>
          <a:prstGeom prst="rect">
            <a:avLst/>
          </a:prstGeom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CD1A315A-ED4A-44B0-B41F-98717C3F48E9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713907" cy="1602265"/>
          </a:xfrm>
          <a:prstGeom prst="rect">
            <a:avLst/>
          </a:prstGeom>
        </p:spPr>
        <p:txBody>
          <a:bodyPr vert="horz" lIns="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11709F4-F12E-4EA4-8CCE-53C3A189512B}"/>
              </a:ext>
            </a:extLst>
          </p:cNvPr>
          <p:cNvCxnSpPr>
            <a:cxnSpLocks/>
          </p:cNvCxnSpPr>
          <p:nvPr/>
        </p:nvCxnSpPr>
        <p:spPr>
          <a:xfrm flipV="1">
            <a:off x="4121895" y="1881188"/>
            <a:ext cx="0" cy="208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F737885-9E9E-45FA-A8BF-3FE8ADF952BD}"/>
              </a:ext>
            </a:extLst>
          </p:cNvPr>
          <p:cNvCxnSpPr>
            <a:cxnSpLocks/>
          </p:cNvCxnSpPr>
          <p:nvPr/>
        </p:nvCxnSpPr>
        <p:spPr>
          <a:xfrm flipV="1">
            <a:off x="8112224" y="1881188"/>
            <a:ext cx="0" cy="2304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ogen 36">
            <a:extLst>
              <a:ext uri="{FF2B5EF4-FFF2-40B4-BE49-F238E27FC236}">
                <a16:creationId xmlns:a16="http://schemas.microsoft.com/office/drawing/2014/main" id="{2090F72A-F9A8-4FA0-9BF2-BD022EE4BBF2}"/>
              </a:ext>
            </a:extLst>
          </p:cNvPr>
          <p:cNvSpPr/>
          <p:nvPr/>
        </p:nvSpPr>
        <p:spPr>
          <a:xfrm>
            <a:off x="4121895" y="3446940"/>
            <a:ext cx="3990230" cy="3990230"/>
          </a:xfrm>
          <a:prstGeom prst="arc">
            <a:avLst>
              <a:gd name="adj1" fmla="val 13159236"/>
              <a:gd name="adj2" fmla="val 19514812"/>
            </a:avLst>
          </a:prstGeom>
          <a:ln w="19050">
            <a:solidFill>
              <a:schemeClr val="tx2"/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2D71084B-4F4E-4DCC-94FC-47D46391197A}"/>
              </a:ext>
            </a:extLst>
          </p:cNvPr>
          <p:cNvSpPr txBox="1">
            <a:spLocks/>
          </p:cNvSpPr>
          <p:nvPr/>
        </p:nvSpPr>
        <p:spPr>
          <a:xfrm>
            <a:off x="5087888" y="1869113"/>
            <a:ext cx="2124532" cy="133214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dirty="0">
                <a:solidFill>
                  <a:schemeClr val="tx1"/>
                </a:solidFill>
              </a:rPr>
              <a:t>Lorem ipsum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dolor sit ame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77F8560-201D-AD53-1478-F889EF82E7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2695" y="431576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C9C9A66-1EFA-52A7-BB75-9A1CE658D4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74943" y="4401708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1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78B92D4-64A9-44C6-B628-85209109E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6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661A217-1056-43E7-A5BE-A202B7CAFFFF}"/>
              </a:ext>
            </a:extLst>
          </p:cNvPr>
          <p:cNvSpPr txBox="1">
            <a:spLocks/>
          </p:cNvSpPr>
          <p:nvPr/>
        </p:nvSpPr>
        <p:spPr>
          <a:xfrm>
            <a:off x="1091928" y="1880828"/>
            <a:ext cx="496800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068660" y="1880828"/>
            <a:ext cx="4715353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C394A5A-E39F-4AF5-AFFB-8939717A932B}"/>
              </a:ext>
            </a:extLst>
          </p:cNvPr>
          <p:cNvCxnSpPr>
            <a:cxnSpLocks/>
          </p:cNvCxnSpPr>
          <p:nvPr/>
        </p:nvCxnSpPr>
        <p:spPr>
          <a:xfrm>
            <a:off x="407988" y="407689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FFFFA36-560A-4BDE-88A0-7FDF78123D2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8712992-1B6D-4848-8895-6C59D9CB381D}"/>
              </a:ext>
            </a:extLst>
          </p:cNvPr>
          <p:cNvSpPr/>
          <p:nvPr/>
        </p:nvSpPr>
        <p:spPr>
          <a:xfrm>
            <a:off x="5808664" y="4004884"/>
            <a:ext cx="57467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rafik 8">
            <a:extLst>
              <a:ext uri="{FF2B5EF4-FFF2-40B4-BE49-F238E27FC236}">
                <a16:creationId xmlns:a16="http://schemas.microsoft.com/office/drawing/2014/main" id="{B587378A-6D77-4E9E-8FCA-BBABE8586A6C}"/>
              </a:ext>
            </a:extLst>
          </p:cNvPr>
          <p:cNvSpPr>
            <a:spLocks noChangeAspect="1"/>
          </p:cNvSpPr>
          <p:nvPr/>
        </p:nvSpPr>
        <p:spPr>
          <a:xfrm>
            <a:off x="6384104" y="188082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606380F-A0DF-45D6-AE2A-05594E1E9A2A}"/>
              </a:ext>
            </a:extLst>
          </p:cNvPr>
          <p:cNvSpPr txBox="1">
            <a:spLocks/>
          </p:cNvSpPr>
          <p:nvPr/>
        </p:nvSpPr>
        <p:spPr>
          <a:xfrm>
            <a:off x="1091308" y="4256581"/>
            <a:ext cx="496800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3A046435-7F8E-4074-9C8B-71A27497B8EA}"/>
              </a:ext>
            </a:extLst>
          </p:cNvPr>
          <p:cNvSpPr txBox="1">
            <a:spLocks/>
          </p:cNvSpPr>
          <p:nvPr/>
        </p:nvSpPr>
        <p:spPr>
          <a:xfrm>
            <a:off x="7068040" y="4256581"/>
            <a:ext cx="4715353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16F7E02D-AFD6-42C3-800F-AA89B049AFDF}"/>
              </a:ext>
            </a:extLst>
          </p:cNvPr>
          <p:cNvSpPr/>
          <p:nvPr/>
        </p:nvSpPr>
        <p:spPr>
          <a:xfrm>
            <a:off x="403349" y="4256581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tx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FBD5E2CD-CDF6-48D2-91E5-0AB255AC7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83338" y="4256581"/>
            <a:ext cx="427236" cy="557313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05D0D085-2989-47D3-A93A-7672449BC18B}"/>
              </a:ext>
            </a:extLst>
          </p:cNvPr>
          <p:cNvSpPr/>
          <p:nvPr/>
        </p:nvSpPr>
        <p:spPr>
          <a:xfrm>
            <a:off x="412247" y="1880828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tx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1275C15F-83FC-48DF-8F1D-D50D0DF5733B}"/>
              </a:ext>
            </a:extLst>
          </p:cNvPr>
          <p:cNvCxnSpPr/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</p:spTree>
    <p:extLst>
      <p:ext uri="{BB962C8B-B14F-4D97-AF65-F5344CB8AC3E}">
        <p14:creationId xmlns:p14="http://schemas.microsoft.com/office/powerpoint/2010/main" val="402730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7CAA716-B533-4002-9862-A1DF5FC9181A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C42EC7B-1345-472B-82F6-451FC7B050C9}"/>
              </a:ext>
            </a:extLst>
          </p:cNvPr>
          <p:cNvCxnSpPr>
            <a:cxnSpLocks/>
          </p:cNvCxnSpPr>
          <p:nvPr/>
        </p:nvCxnSpPr>
        <p:spPr>
          <a:xfrm>
            <a:off x="407987" y="407707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FD72311B-D7C7-4D5B-B8D1-B615C3193129}"/>
              </a:ext>
            </a:extLst>
          </p:cNvPr>
          <p:cNvSpPr/>
          <p:nvPr/>
        </p:nvSpPr>
        <p:spPr>
          <a:xfrm>
            <a:off x="5051884" y="3032956"/>
            <a:ext cx="2088232" cy="208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D616755-7A3B-4B06-86E4-E58EEEB51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7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284131" y="1880828"/>
            <a:ext cx="4499881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FDBD9A8-9E8E-4261-B5FF-7600B599C04F}"/>
              </a:ext>
            </a:extLst>
          </p:cNvPr>
          <p:cNvSpPr txBox="1">
            <a:spLocks/>
          </p:cNvSpPr>
          <p:nvPr/>
        </p:nvSpPr>
        <p:spPr>
          <a:xfrm>
            <a:off x="7283511" y="4256581"/>
            <a:ext cx="4499881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43732FF-56C7-460A-9EC4-ED1F8E435009}"/>
              </a:ext>
            </a:extLst>
          </p:cNvPr>
          <p:cNvSpPr txBox="1">
            <a:spLocks/>
          </p:cNvSpPr>
          <p:nvPr/>
        </p:nvSpPr>
        <p:spPr>
          <a:xfrm>
            <a:off x="407988" y="1880828"/>
            <a:ext cx="565194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339467E-088C-488E-A292-A50538C35FB3}"/>
              </a:ext>
            </a:extLst>
          </p:cNvPr>
          <p:cNvSpPr txBox="1">
            <a:spLocks/>
          </p:cNvSpPr>
          <p:nvPr/>
        </p:nvSpPr>
        <p:spPr>
          <a:xfrm>
            <a:off x="407368" y="4256581"/>
            <a:ext cx="565194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45B339D-ED73-4213-A0D1-41428C1AF578}"/>
              </a:ext>
            </a:extLst>
          </p:cNvPr>
          <p:cNvSpPr/>
          <p:nvPr/>
        </p:nvSpPr>
        <p:spPr>
          <a:xfrm>
            <a:off x="5159896" y="3140968"/>
            <a:ext cx="1872208" cy="1872208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Grafik 8">
            <a:extLst>
              <a:ext uri="{FF2B5EF4-FFF2-40B4-BE49-F238E27FC236}">
                <a16:creationId xmlns:a16="http://schemas.microsoft.com/office/drawing/2014/main" id="{99113913-294F-4AD9-9F4D-0D2F22AD3C77}"/>
              </a:ext>
            </a:extLst>
          </p:cNvPr>
          <p:cNvSpPr>
            <a:spLocks noChangeAspect="1"/>
          </p:cNvSpPr>
          <p:nvPr/>
        </p:nvSpPr>
        <p:spPr>
          <a:xfrm>
            <a:off x="6310156" y="332101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C7DBDC8-475C-466C-839D-2EEE5B8791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66532" y="4284470"/>
            <a:ext cx="427236" cy="557313"/>
          </a:xfrm>
          <a:prstGeom prst="rect">
            <a:avLst/>
          </a:prstGeom>
        </p:spPr>
      </p:pic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83357A62-AF86-4946-BB44-46C8F3CAB772}"/>
              </a:ext>
            </a:extLst>
          </p:cNvPr>
          <p:cNvSpPr/>
          <p:nvPr/>
        </p:nvSpPr>
        <p:spPr>
          <a:xfrm>
            <a:off x="5344260" y="4295530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7087800F-C7E2-4A90-8B9E-CBBD93815027}"/>
              </a:ext>
            </a:extLst>
          </p:cNvPr>
          <p:cNvSpPr/>
          <p:nvPr/>
        </p:nvSpPr>
        <p:spPr>
          <a:xfrm>
            <a:off x="5344260" y="3323422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0A68371-CD13-40C0-A230-15AF68F93FAE}"/>
              </a:ext>
            </a:extLst>
          </p:cNvPr>
          <p:cNvCxnSpPr>
            <a:cxnSpLocks/>
          </p:cNvCxnSpPr>
          <p:nvPr/>
        </p:nvCxnSpPr>
        <p:spPr>
          <a:xfrm>
            <a:off x="6096000" y="3266982"/>
            <a:ext cx="0" cy="1620180"/>
          </a:xfrm>
          <a:prstGeom prst="line">
            <a:avLst/>
          </a:prstGeom>
          <a:noFill/>
          <a:ln w="38100" cap="rnd">
            <a:solidFill>
              <a:schemeClr val="bg1"/>
            </a:solidFill>
          </a:ln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C14B3F6-3B3C-4AD4-A4B8-8B7F8E9567FE}"/>
              </a:ext>
            </a:extLst>
          </p:cNvPr>
          <p:cNvGrpSpPr/>
          <p:nvPr/>
        </p:nvGrpSpPr>
        <p:grpSpPr>
          <a:xfrm>
            <a:off x="5249948" y="4077072"/>
            <a:ext cx="1692104" cy="0"/>
            <a:chOff x="5267992" y="4077072"/>
            <a:chExt cx="1692104" cy="0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DB8BE8-3C99-4A77-B13C-65023DCF013D}"/>
                </a:ext>
              </a:extLst>
            </p:cNvPr>
            <p:cNvCxnSpPr>
              <a:cxnSpLocks/>
            </p:cNvCxnSpPr>
            <p:nvPr/>
          </p:nvCxnSpPr>
          <p:spPr>
            <a:xfrm>
              <a:off x="5267992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0AD58932-2AFC-4093-829A-E7843DBDE89E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96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389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79B1097-7868-4E6B-90F7-E3C519CC9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B95254-E7A4-4DAA-A69E-D26E13D361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D6FAF2D-F333-450F-A20B-1A76D9FBFAC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</p:txBody>
      </p:sp>
    </p:spTree>
    <p:extLst>
      <p:ext uri="{BB962C8B-B14F-4D97-AF65-F5344CB8AC3E}">
        <p14:creationId xmlns:p14="http://schemas.microsoft.com/office/powerpoint/2010/main" val="334547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1CF138B-5251-4DF4-BC6F-B1F931FB2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0E8745-BDAC-4493-84A1-28977C18FBD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it</a:t>
            </a:r>
            <a:r>
              <a:rPr lang="de-DE" noProof="0" dirty="0"/>
              <a:t>.</a:t>
            </a:r>
          </a:p>
          <a:p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endParaRPr lang="de-DE" dirty="0"/>
          </a:p>
          <a:p>
            <a:pPr lvl="1"/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.</a:t>
            </a:r>
          </a:p>
          <a:p>
            <a:pPr lvl="1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5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107AB0-853F-4218-B21B-DC09CB5EA0D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6B76D4-5272-4ADB-ADD6-7ED1C985EA4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982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8" name="Bildplatzhalter 7" descr="Ein Bild, das Person, Kleidung, Menschliches Gesicht, Fenster enthält.&#10;&#10;Automatisch generierte Beschreibung">
            <a:extLst>
              <a:ext uri="{FF2B5EF4-FFF2-40B4-BE49-F238E27FC236}">
                <a16:creationId xmlns:a16="http://schemas.microsoft.com/office/drawing/2014/main" id="{89FDF7A2-509F-9BA7-E588-CEAA0F30D06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9943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7450DCC-6A2D-40D9-BFEE-3A7322B0ADF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5" name="Bildplatzhalter 4" descr="Ein Bild, das Person, Kleidung, Menschliches Gesicht, Fenster enthält.&#10;&#10;Automatisch generierte Beschreibung">
            <a:extLst>
              <a:ext uri="{FF2B5EF4-FFF2-40B4-BE49-F238E27FC236}">
                <a16:creationId xmlns:a16="http://schemas.microsoft.com/office/drawing/2014/main" id="{248E1F90-CBE3-0DD6-5CA6-B1113F603CD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7715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12BE99-9673-4655-8FF8-2A0C4A704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3CF6EB0-FC4D-4AEB-9783-908B4598A8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33FBB4E-7E48-4E1A-9A81-2BAE84840C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3FE7B16-54CF-4E56-8C8F-8A63A0B52C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D023C8B-3194-443D-8644-9C2B29746E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.</a:t>
            </a:r>
          </a:p>
        </p:txBody>
      </p:sp>
      <p:pic>
        <p:nvPicPr>
          <p:cNvPr id="19" name="Bildplatzhalter 18" descr="Ein Bild, das Person, Wand, Kleidung, Im Haus enthält.&#10;&#10;Automatisch generierte Beschreibung">
            <a:extLst>
              <a:ext uri="{FF2B5EF4-FFF2-40B4-BE49-F238E27FC236}">
                <a16:creationId xmlns:a16="http://schemas.microsoft.com/office/drawing/2014/main" id="{27F4D49A-ABB2-134F-678A-3B6A416273D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3" name="Bildplatzhalter 22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4CF0A95E-69AD-6396-C3FD-534D2EC1EC4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6" name="Bildplatzhalter 25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25938388-8E28-AD8C-C3D0-B5A270086F7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Bildplatzhalter 27" descr="Ein Bild, das Person, Kleidung, Menschliches Gesicht, Fenster enthält.&#10;&#10;Automatisch generierte Beschreibung">
            <a:extLst>
              <a:ext uri="{FF2B5EF4-FFF2-40B4-BE49-F238E27FC236}">
                <a16:creationId xmlns:a16="http://schemas.microsoft.com/office/drawing/2014/main" id="{7BAF2662-9B74-3836-661F-378A5B0DD07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6826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7B0D907-2CCF-4280-9598-EFEB5A825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23EA112-60B0-4AF8-8D1E-83417F13A3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B01148-15C8-441E-B507-F6E2D3849B7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10" name="Bildplatzhalter 9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26AAA044-8FD6-6947-A196-9E53891BF1D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2" name="Bildplatzhalter 11" descr="Ein Bild, das Person, Menschliches Gesicht, Kleidung, Mann enthält.&#10;&#10;Automatisch generierte Beschreibung">
            <a:extLst>
              <a:ext uri="{FF2B5EF4-FFF2-40B4-BE49-F238E27FC236}">
                <a16:creationId xmlns:a16="http://schemas.microsoft.com/office/drawing/2014/main" id="{43FD784E-45A1-62A1-E7B5-20DDFB66C5A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2401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31EC1-3FE6-45A6-B708-BAF58DE13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6E90EE-B051-466D-9C0D-1DB4D83698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4E08103-45EF-4E79-8EBE-6A2A257E41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12" name="Bildplatzhalter 11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537AC9D2-7DC3-7CFE-DD8E-8481E38337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Bildplatzhalter 13" descr="Ein Bild, das Person, Menschliches Gesicht, Kleidung, Mann enthält.&#10;&#10;Automatisch generierte Beschreibung">
            <a:extLst>
              <a:ext uri="{FF2B5EF4-FFF2-40B4-BE49-F238E27FC236}">
                <a16:creationId xmlns:a16="http://schemas.microsoft.com/office/drawing/2014/main" id="{2DC7E24E-F9F2-CBBE-6521-EEA8F125B4F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752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Titel zwei- bis vierzeilig lorem ohne Bild lorem ipsu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423453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53CA66E-C625-46AE-97A9-C43F8FE46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80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25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9B598A-7039-4D6D-8DA9-D651F70916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563C91-AA81-43E1-B063-025DA038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9F1E8A-D973-46E8-A2F1-3CA20BA2D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4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Person, Kleidung, Menschliches Gesicht, Fenster enthält.&#10;&#10;Automatisch generierte Beschreibung">
            <a:extLst>
              <a:ext uri="{FF2B5EF4-FFF2-40B4-BE49-F238E27FC236}">
                <a16:creationId xmlns:a16="http://schemas.microsoft.com/office/drawing/2014/main" id="{9970F7A6-67E6-25BC-EF52-E777EA3ADD3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546AA342-2326-2DE7-39CA-14C49C48518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48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912E13F4-9930-422B-9F14-35F5DFFCE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 Bild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22A26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22A26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8E98A1CF-E069-4F31-87AA-CD66364006F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</a:t>
            </a:r>
            <a:br>
              <a:rPr lang="de-DE" dirty="0"/>
            </a:b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3317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5163B3D9-BE35-AD52-69F7-AACD57DD15A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12192000" cy="6858000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A10680B-5CB9-4994-BA75-08321AA6D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 Bild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8D9C989-215B-411B-AC59-92D1DF5D562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</a:t>
            </a:r>
            <a:br>
              <a:rPr lang="de-DE" dirty="0"/>
            </a:b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BFC357-94BC-44C8-B600-C5D15BBAA3CF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nBW DIN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045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33284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br>
              <a:rPr lang="en-GB" dirty="0"/>
            </a:br>
            <a:br>
              <a:rPr lang="en-GB" dirty="0"/>
            </a:br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411702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22FF5-1929-4E63-8DA4-EC221B2B3A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Netze BW Wasser</a:t>
            </a:r>
            <a:br>
              <a:rPr lang="de-DE" dirty="0"/>
            </a:br>
            <a:r>
              <a:rPr lang="de-DE" dirty="0"/>
              <a:t>Folienbibliothek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09DEFA3-71C3-4AC8-90D0-C09E171E32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tand Dezember 2023</a:t>
            </a:r>
          </a:p>
        </p:txBody>
      </p:sp>
    </p:spTree>
    <p:extLst>
      <p:ext uri="{BB962C8B-B14F-4D97-AF65-F5344CB8AC3E}">
        <p14:creationId xmlns:p14="http://schemas.microsoft.com/office/powerpoint/2010/main" val="58286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BF5FF9-76B3-BD4B-90C8-0A2EB0FF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Vorgaben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EB0C7B6-34DD-8A43-B62C-3DE19595DBB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: 18pt Mark OT Medium</a:t>
            </a:r>
          </a:p>
          <a:p>
            <a:pPr lvl="1"/>
            <a:r>
              <a:rPr lang="de-DE" dirty="0"/>
              <a:t>Zweite Ebene: Fließtext 16pt EnBW DIN Pro</a:t>
            </a:r>
          </a:p>
          <a:p>
            <a:pPr lvl="2"/>
            <a:r>
              <a:rPr lang="de-DE" dirty="0"/>
              <a:t>Dritte Ebene: Aufzählung 16pt | Einzug: 0,7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Impuls-Orange</a:t>
            </a:r>
          </a:p>
          <a:p>
            <a:pPr lvl="3"/>
            <a:r>
              <a:rPr lang="de-DE" dirty="0"/>
              <a:t>Vierte Ebene: Aufzählung 16pt | Einzug: 1,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pPr lvl="4"/>
            <a:r>
              <a:rPr lang="de-DE" dirty="0"/>
              <a:t>Fünfte Ebene: Aufzählung 16pt | Einzug: 2,2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r>
              <a:rPr lang="de-DE" dirty="0"/>
              <a:t>Absatzabstand:</a:t>
            </a:r>
          </a:p>
          <a:p>
            <a:pPr lvl="1"/>
            <a:r>
              <a:rPr lang="de-DE" dirty="0"/>
              <a:t>Einfach 1 </a:t>
            </a:r>
          </a:p>
          <a:p>
            <a:r>
              <a:rPr lang="de-DE" dirty="0"/>
              <a:t>Zeilenabstand:</a:t>
            </a:r>
          </a:p>
          <a:p>
            <a:pPr lvl="1"/>
            <a:r>
              <a:rPr lang="de-DE" dirty="0"/>
              <a:t>0/3/6 oder 2/4/6 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A6363213-37F5-4E65-A786-60D43D32F5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Linien:</a:t>
            </a:r>
          </a:p>
          <a:p>
            <a:pPr lvl="1"/>
            <a:r>
              <a:rPr lang="de-DE" dirty="0"/>
              <a:t>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Stärke: 3/4pt | Farbe: Grau</a:t>
            </a:r>
          </a:p>
          <a:p>
            <a:pPr lvl="1"/>
            <a:r>
              <a:rPr lang="de-DE" dirty="0"/>
              <a:t>Diagrammlinie Achse: 3/4pt | Farbe: Schwarz</a:t>
            </a:r>
          </a:p>
          <a:p>
            <a:r>
              <a:rPr lang="de-DE" dirty="0"/>
              <a:t>Pfeile:</a:t>
            </a:r>
          </a:p>
          <a:p>
            <a:pPr lvl="1"/>
            <a:r>
              <a:rPr lang="de-DE" dirty="0"/>
              <a:t>Offener Pfeil – 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Offener Pfeil – Stärke: 3/4pt | Farbe: Grau</a:t>
            </a:r>
          </a:p>
          <a:p>
            <a:pPr lvl="1"/>
            <a:endParaRPr lang="de-DE" dirty="0"/>
          </a:p>
          <a:p>
            <a:r>
              <a:rPr lang="de-DE" dirty="0"/>
              <a:t>Formen:</a:t>
            </a:r>
          </a:p>
        </p:txBody>
      </p:sp>
      <p:sp>
        <p:nvSpPr>
          <p:cNvPr id="55" name="Fußzeilenplatzhalter 54">
            <a:extLst>
              <a:ext uri="{FF2B5EF4-FFF2-40B4-BE49-F238E27FC236}">
                <a16:creationId xmlns:a16="http://schemas.microsoft.com/office/drawing/2014/main" id="{C55A1A9C-B8AD-4964-A627-A69ECA456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56" name="Foliennummernplatzhalter 55">
            <a:extLst>
              <a:ext uri="{FF2B5EF4-FFF2-40B4-BE49-F238E27FC236}">
                <a16:creationId xmlns:a16="http://schemas.microsoft.com/office/drawing/2014/main" id="{86F63E9B-2C8D-4073-B961-5C45A32D9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8</a:t>
            </a:fld>
            <a:endParaRPr lang="de-DE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41F4BFE-B7CF-4EC1-B48C-E6D3DB10563B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F68B6E9-EFED-40B0-8AEC-1DD4E5585BC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CAFE2200-8B9D-460A-91AC-5912DEF1F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AA32C73-CEE6-4495-AFF7-D221CF844CB8}"/>
              </a:ext>
            </a:extLst>
          </p:cNvPr>
          <p:cNvGrpSpPr/>
          <p:nvPr/>
        </p:nvGrpSpPr>
        <p:grpSpPr>
          <a:xfrm>
            <a:off x="10704502" y="2289572"/>
            <a:ext cx="1079507" cy="1499468"/>
            <a:chOff x="10560496" y="2289572"/>
            <a:chExt cx="1223525" cy="149946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937E535-27C2-4C9B-A634-2B8A85F1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501008"/>
              <a:ext cx="1223517" cy="0"/>
            </a:xfrm>
            <a:prstGeom prst="line">
              <a:avLst/>
            </a:prstGeom>
            <a:ln w="57150" cap="rnd">
              <a:round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0332F21-F927-40E4-90FA-7D5A80C6C2E3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789040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F7830C4-AC7E-41BC-85A2-C7FE29E8E20A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289572"/>
              <a:ext cx="1223517" cy="0"/>
            </a:xfrm>
            <a:prstGeom prst="line">
              <a:avLst/>
            </a:prstGeom>
            <a:ln w="57150" cap="rnd"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4056914C-7E63-4E09-B83A-81D438ADFF78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591383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769304C-D8A6-4E0D-9695-6D35B598DA8F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504" y="2893194"/>
              <a:ext cx="1223517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Freeform 5">
            <a:extLst>
              <a:ext uri="{FF2B5EF4-FFF2-40B4-BE49-F238E27FC236}">
                <a16:creationId xmlns:a16="http://schemas.microsoft.com/office/drawing/2014/main" id="{646AFD9B-24A7-45C8-9554-5C627A343F6A}"/>
              </a:ext>
            </a:extLst>
          </p:cNvPr>
          <p:cNvSpPr>
            <a:spLocks noChangeAspect="1"/>
          </p:cNvSpPr>
          <p:nvPr/>
        </p:nvSpPr>
        <p:spPr bwMode="auto">
          <a:xfrm>
            <a:off x="6392078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44F3D15C-68F9-4F11-8677-9CD2D5137534}"/>
              </a:ext>
            </a:extLst>
          </p:cNvPr>
          <p:cNvSpPr>
            <a:spLocks noChangeAspect="1"/>
          </p:cNvSpPr>
          <p:nvPr/>
        </p:nvSpPr>
        <p:spPr bwMode="auto">
          <a:xfrm>
            <a:off x="6922451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35CFB277-8F96-4376-BFAC-BDD5173C6DCD}"/>
              </a:ext>
            </a:extLst>
          </p:cNvPr>
          <p:cNvSpPr/>
          <p:nvPr/>
        </p:nvSpPr>
        <p:spPr>
          <a:xfrm rot="16200000">
            <a:off x="6408285" y="5157192"/>
            <a:ext cx="360040" cy="360040"/>
          </a:xfrm>
          <a:custGeom>
            <a:avLst/>
            <a:gdLst>
              <a:gd name="connsiteX0" fmla="*/ 360040 w 360040"/>
              <a:gd name="connsiteY0" fmla="*/ 180020 h 360040"/>
              <a:gd name="connsiteX1" fmla="*/ 306040 w 360040"/>
              <a:gd name="connsiteY1" fmla="*/ 234020 h 360040"/>
              <a:gd name="connsiteX2" fmla="*/ 234019 w 360040"/>
              <a:gd name="connsiteY2" fmla="*/ 234020 h 360040"/>
              <a:gd name="connsiteX3" fmla="*/ 234019 w 360040"/>
              <a:gd name="connsiteY3" fmla="*/ 306040 h 360040"/>
              <a:gd name="connsiteX4" fmla="*/ 180019 w 360040"/>
              <a:gd name="connsiteY4" fmla="*/ 360040 h 360040"/>
              <a:gd name="connsiteX5" fmla="*/ 126019 w 360040"/>
              <a:gd name="connsiteY5" fmla="*/ 306040 h 360040"/>
              <a:gd name="connsiteX6" fmla="*/ 126019 w 360040"/>
              <a:gd name="connsiteY6" fmla="*/ 234020 h 360040"/>
              <a:gd name="connsiteX7" fmla="*/ 54000 w 360040"/>
              <a:gd name="connsiteY7" fmla="*/ 234020 h 360040"/>
              <a:gd name="connsiteX8" fmla="*/ 0 w 360040"/>
              <a:gd name="connsiteY8" fmla="*/ 180020 h 360040"/>
              <a:gd name="connsiteX9" fmla="*/ 54000 w 360040"/>
              <a:gd name="connsiteY9" fmla="*/ 126020 h 360040"/>
              <a:gd name="connsiteX10" fmla="*/ 126019 w 360040"/>
              <a:gd name="connsiteY10" fmla="*/ 126020 h 360040"/>
              <a:gd name="connsiteX11" fmla="*/ 126019 w 360040"/>
              <a:gd name="connsiteY11" fmla="*/ 54000 h 360040"/>
              <a:gd name="connsiteX12" fmla="*/ 180019 w 360040"/>
              <a:gd name="connsiteY12" fmla="*/ 0 h 360040"/>
              <a:gd name="connsiteX13" fmla="*/ 234019 w 360040"/>
              <a:gd name="connsiteY13" fmla="*/ 54000 h 360040"/>
              <a:gd name="connsiteX14" fmla="*/ 234019 w 360040"/>
              <a:gd name="connsiteY14" fmla="*/ 126020 h 360040"/>
              <a:gd name="connsiteX15" fmla="*/ 306040 w 360040"/>
              <a:gd name="connsiteY15" fmla="*/ 126020 h 360040"/>
              <a:gd name="connsiteX16" fmla="*/ 360040 w 360040"/>
              <a:gd name="connsiteY16" fmla="*/ 18002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0" h="360040">
                <a:moveTo>
                  <a:pt x="360040" y="180020"/>
                </a:moveTo>
                <a:cubicBezTo>
                  <a:pt x="360040" y="209843"/>
                  <a:pt x="335863" y="234020"/>
                  <a:pt x="306040" y="234020"/>
                </a:cubicBezTo>
                <a:lnTo>
                  <a:pt x="234019" y="234020"/>
                </a:lnTo>
                <a:lnTo>
                  <a:pt x="234019" y="306040"/>
                </a:lnTo>
                <a:cubicBezTo>
                  <a:pt x="234019" y="335863"/>
                  <a:pt x="209842" y="360040"/>
                  <a:pt x="180019" y="360040"/>
                </a:cubicBezTo>
                <a:cubicBezTo>
                  <a:pt x="150196" y="360040"/>
                  <a:pt x="126019" y="335863"/>
                  <a:pt x="126019" y="306040"/>
                </a:cubicBezTo>
                <a:lnTo>
                  <a:pt x="126019" y="234020"/>
                </a:lnTo>
                <a:lnTo>
                  <a:pt x="54000" y="234020"/>
                </a:lnTo>
                <a:cubicBezTo>
                  <a:pt x="24177" y="234020"/>
                  <a:pt x="0" y="209843"/>
                  <a:pt x="0" y="180020"/>
                </a:cubicBezTo>
                <a:cubicBezTo>
                  <a:pt x="0" y="150197"/>
                  <a:pt x="24177" y="126020"/>
                  <a:pt x="54000" y="126020"/>
                </a:cubicBezTo>
                <a:lnTo>
                  <a:pt x="126019" y="126020"/>
                </a:lnTo>
                <a:lnTo>
                  <a:pt x="126019" y="54000"/>
                </a:lnTo>
                <a:cubicBezTo>
                  <a:pt x="126019" y="24177"/>
                  <a:pt x="150196" y="0"/>
                  <a:pt x="180019" y="0"/>
                </a:cubicBezTo>
                <a:cubicBezTo>
                  <a:pt x="209842" y="0"/>
                  <a:pt x="234019" y="24177"/>
                  <a:pt x="234019" y="54000"/>
                </a:cubicBezTo>
                <a:lnTo>
                  <a:pt x="234019" y="126020"/>
                </a:lnTo>
                <a:lnTo>
                  <a:pt x="306040" y="126020"/>
                </a:lnTo>
                <a:cubicBezTo>
                  <a:pt x="335863" y="126020"/>
                  <a:pt x="360040" y="150197"/>
                  <a:pt x="360040" y="1800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82C333F2-66A3-4A4A-BF34-AB68E0DDA30D}"/>
              </a:ext>
            </a:extLst>
          </p:cNvPr>
          <p:cNvSpPr/>
          <p:nvPr/>
        </p:nvSpPr>
        <p:spPr>
          <a:xfrm rot="16200000">
            <a:off x="7071242" y="5157191"/>
            <a:ext cx="270011" cy="360040"/>
          </a:xfrm>
          <a:custGeom>
            <a:avLst/>
            <a:gdLst>
              <a:gd name="connsiteX0" fmla="*/ 108000 w 270011"/>
              <a:gd name="connsiteY0" fmla="*/ 54000 h 360040"/>
              <a:gd name="connsiteX1" fmla="*/ 108000 w 270011"/>
              <a:gd name="connsiteY1" fmla="*/ 306040 h 360040"/>
              <a:gd name="connsiteX2" fmla="*/ 54000 w 270011"/>
              <a:gd name="connsiteY2" fmla="*/ 360040 h 360040"/>
              <a:gd name="connsiteX3" fmla="*/ 0 w 270011"/>
              <a:gd name="connsiteY3" fmla="*/ 306040 h 360040"/>
              <a:gd name="connsiteX4" fmla="*/ 0 w 270011"/>
              <a:gd name="connsiteY4" fmla="*/ 54000 h 360040"/>
              <a:gd name="connsiteX5" fmla="*/ 54000 w 270011"/>
              <a:gd name="connsiteY5" fmla="*/ 0 h 360040"/>
              <a:gd name="connsiteX6" fmla="*/ 108000 w 270011"/>
              <a:gd name="connsiteY6" fmla="*/ 54000 h 360040"/>
              <a:gd name="connsiteX7" fmla="*/ 270011 w 270011"/>
              <a:gd name="connsiteY7" fmla="*/ 54000 h 360040"/>
              <a:gd name="connsiteX8" fmla="*/ 270011 w 270011"/>
              <a:gd name="connsiteY8" fmla="*/ 306040 h 360040"/>
              <a:gd name="connsiteX9" fmla="*/ 216011 w 270011"/>
              <a:gd name="connsiteY9" fmla="*/ 360040 h 360040"/>
              <a:gd name="connsiteX10" fmla="*/ 162011 w 270011"/>
              <a:gd name="connsiteY10" fmla="*/ 306040 h 360040"/>
              <a:gd name="connsiteX11" fmla="*/ 162011 w 270011"/>
              <a:gd name="connsiteY11" fmla="*/ 54000 h 360040"/>
              <a:gd name="connsiteX12" fmla="*/ 216011 w 270011"/>
              <a:gd name="connsiteY12" fmla="*/ 0 h 360040"/>
              <a:gd name="connsiteX13" fmla="*/ 270011 w 270011"/>
              <a:gd name="connsiteY13" fmla="*/ 5400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0011" h="360040">
                <a:moveTo>
                  <a:pt x="108000" y="54000"/>
                </a:moveTo>
                <a:lnTo>
                  <a:pt x="108000" y="306040"/>
                </a:lnTo>
                <a:cubicBezTo>
                  <a:pt x="108000" y="335863"/>
                  <a:pt x="83823" y="360040"/>
                  <a:pt x="54000" y="360040"/>
                </a:cubicBezTo>
                <a:cubicBezTo>
                  <a:pt x="24177" y="360040"/>
                  <a:pt x="0" y="335863"/>
                  <a:pt x="0" y="306040"/>
                </a:cubicBezTo>
                <a:lnTo>
                  <a:pt x="0" y="54000"/>
                </a:lnTo>
                <a:cubicBezTo>
                  <a:pt x="0" y="24177"/>
                  <a:pt x="24177" y="0"/>
                  <a:pt x="54000" y="0"/>
                </a:cubicBezTo>
                <a:cubicBezTo>
                  <a:pt x="83823" y="0"/>
                  <a:pt x="108000" y="24177"/>
                  <a:pt x="108000" y="54000"/>
                </a:cubicBezTo>
                <a:close/>
                <a:moveTo>
                  <a:pt x="270011" y="54000"/>
                </a:moveTo>
                <a:lnTo>
                  <a:pt x="270011" y="306040"/>
                </a:lnTo>
                <a:cubicBezTo>
                  <a:pt x="270011" y="335863"/>
                  <a:pt x="245834" y="360040"/>
                  <a:pt x="216011" y="360040"/>
                </a:cubicBezTo>
                <a:cubicBezTo>
                  <a:pt x="186188" y="360040"/>
                  <a:pt x="162011" y="335863"/>
                  <a:pt x="162011" y="306040"/>
                </a:cubicBezTo>
                <a:lnTo>
                  <a:pt x="162011" y="54000"/>
                </a:lnTo>
                <a:cubicBezTo>
                  <a:pt x="162011" y="24177"/>
                  <a:pt x="186188" y="0"/>
                  <a:pt x="216011" y="0"/>
                </a:cubicBezTo>
                <a:cubicBezTo>
                  <a:pt x="245834" y="0"/>
                  <a:pt x="270011" y="24177"/>
                  <a:pt x="270011" y="54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9DA8F80B-FE76-4E44-9200-B1F7D0304551}"/>
              </a:ext>
            </a:extLst>
          </p:cNvPr>
          <p:cNvSpPr/>
          <p:nvPr/>
        </p:nvSpPr>
        <p:spPr>
          <a:xfrm rot="16200000">
            <a:off x="7770192" y="5157191"/>
            <a:ext cx="108000" cy="36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A81A6C08-719F-4EFA-B7CD-56A10F1E196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E71C660-E982-4637-B1D2-F3919DA6BD90}"/>
              </a:ext>
            </a:extLst>
          </p:cNvPr>
          <p:cNvSpPr/>
          <p:nvPr/>
        </p:nvSpPr>
        <p:spPr>
          <a:xfrm>
            <a:off x="9984003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559DDC8-4584-4D46-9313-3A97CE401152}"/>
              </a:ext>
            </a:extLst>
          </p:cNvPr>
          <p:cNvSpPr/>
          <p:nvPr/>
        </p:nvSpPr>
        <p:spPr>
          <a:xfrm>
            <a:off x="11249439" y="4653136"/>
            <a:ext cx="535193" cy="535193"/>
          </a:xfrm>
          <a:custGeom>
            <a:avLst/>
            <a:gdLst>
              <a:gd name="connsiteX0" fmla="*/ 1101360 w 2202768"/>
              <a:gd name="connsiteY0" fmla="*/ 0 h 2202768"/>
              <a:gd name="connsiteX1" fmla="*/ 0 w 2202768"/>
              <a:gd name="connsiteY1" fmla="*/ 1101408 h 2202768"/>
              <a:gd name="connsiteX2" fmla="*/ 73437 w 2202768"/>
              <a:gd name="connsiteY2" fmla="*/ 1505263 h 2202768"/>
              <a:gd name="connsiteX3" fmla="*/ 168876 w 2202768"/>
              <a:gd name="connsiteY3" fmla="*/ 1549316 h 2202768"/>
              <a:gd name="connsiteX4" fmla="*/ 212928 w 2202768"/>
              <a:gd name="connsiteY4" fmla="*/ 1453877 h 2202768"/>
              <a:gd name="connsiteX5" fmla="*/ 146825 w 2202768"/>
              <a:gd name="connsiteY5" fmla="*/ 1101408 h 2202768"/>
              <a:gd name="connsiteX6" fmla="*/ 1101311 w 2202768"/>
              <a:gd name="connsiteY6" fmla="*/ 146874 h 2202768"/>
              <a:gd name="connsiteX7" fmla="*/ 2055797 w 2202768"/>
              <a:gd name="connsiteY7" fmla="*/ 1101408 h 2202768"/>
              <a:gd name="connsiteX8" fmla="*/ 1101360 w 2202768"/>
              <a:gd name="connsiteY8" fmla="*/ 2055943 h 2202768"/>
              <a:gd name="connsiteX9" fmla="*/ 411189 w 2202768"/>
              <a:gd name="connsiteY9" fmla="*/ 1762244 h 2202768"/>
              <a:gd name="connsiteX10" fmla="*/ 308416 w 2202768"/>
              <a:gd name="connsiteY10" fmla="*/ 1762244 h 2202768"/>
              <a:gd name="connsiteX11" fmla="*/ 308416 w 2202768"/>
              <a:gd name="connsiteY11" fmla="*/ 1865017 h 2202768"/>
              <a:gd name="connsiteX12" fmla="*/ 1101408 w 2202768"/>
              <a:gd name="connsiteY12" fmla="*/ 2202768 h 2202768"/>
              <a:gd name="connsiteX13" fmla="*/ 2202768 w 2202768"/>
              <a:gd name="connsiteY13" fmla="*/ 1101360 h 2202768"/>
              <a:gd name="connsiteX14" fmla="*/ 1101360 w 2202768"/>
              <a:gd name="connsiteY14" fmla="*/ 0 h 2202768"/>
              <a:gd name="connsiteX15" fmla="*/ 550097 w 2202768"/>
              <a:gd name="connsiteY15" fmla="*/ 1364218 h 2202768"/>
              <a:gd name="connsiteX16" fmla="*/ 1652623 w 2202768"/>
              <a:gd name="connsiteY16" fmla="*/ 1364218 h 2202768"/>
              <a:gd name="connsiteX17" fmla="*/ 1749761 w 2202768"/>
              <a:gd name="connsiteY17" fmla="*/ 1267079 h 2202768"/>
              <a:gd name="connsiteX18" fmla="*/ 1652623 w 2202768"/>
              <a:gd name="connsiteY18" fmla="*/ 1169940 h 2202768"/>
              <a:gd name="connsiteX19" fmla="*/ 550097 w 2202768"/>
              <a:gd name="connsiteY19" fmla="*/ 1169940 h 2202768"/>
              <a:gd name="connsiteX20" fmla="*/ 452958 w 2202768"/>
              <a:gd name="connsiteY20" fmla="*/ 1267079 h 2202768"/>
              <a:gd name="connsiteX21" fmla="*/ 550097 w 2202768"/>
              <a:gd name="connsiteY21" fmla="*/ 1364218 h 2202768"/>
              <a:gd name="connsiteX22" fmla="*/ 550097 w 2202768"/>
              <a:gd name="connsiteY22" fmla="*/ 1032877 h 2202768"/>
              <a:gd name="connsiteX23" fmla="*/ 1652623 w 2202768"/>
              <a:gd name="connsiteY23" fmla="*/ 1032877 h 2202768"/>
              <a:gd name="connsiteX24" fmla="*/ 1749761 w 2202768"/>
              <a:gd name="connsiteY24" fmla="*/ 935738 h 2202768"/>
              <a:gd name="connsiteX25" fmla="*/ 1652623 w 2202768"/>
              <a:gd name="connsiteY25" fmla="*/ 838599 h 2202768"/>
              <a:gd name="connsiteX26" fmla="*/ 550097 w 2202768"/>
              <a:gd name="connsiteY26" fmla="*/ 838599 h 2202768"/>
              <a:gd name="connsiteX27" fmla="*/ 452958 w 2202768"/>
              <a:gd name="connsiteY27" fmla="*/ 935738 h 2202768"/>
              <a:gd name="connsiteX28" fmla="*/ 550097 w 2202768"/>
              <a:gd name="connsiteY28" fmla="*/ 1032877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202768" h="2202768">
                <a:moveTo>
                  <a:pt x="1101360" y="0"/>
                </a:moveTo>
                <a:cubicBezTo>
                  <a:pt x="491960" y="0"/>
                  <a:pt x="0" y="491960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6"/>
                  <a:pt x="132157" y="1563983"/>
                  <a:pt x="168876" y="1549316"/>
                </a:cubicBezTo>
                <a:cubicBezTo>
                  <a:pt x="212928" y="1534648"/>
                  <a:pt x="227596" y="1490595"/>
                  <a:pt x="212928" y="1453877"/>
                </a:cubicBezTo>
                <a:cubicBezTo>
                  <a:pt x="168876" y="1343721"/>
                  <a:pt x="146825" y="1226232"/>
                  <a:pt x="146825" y="1101408"/>
                </a:cubicBezTo>
                <a:cubicBezTo>
                  <a:pt x="146825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89" y="2055943"/>
                  <a:pt x="1101360" y="2055943"/>
                </a:cubicBezTo>
                <a:cubicBezTo>
                  <a:pt x="844379" y="2055943"/>
                  <a:pt x="587398" y="1945788"/>
                  <a:pt x="411189" y="1762244"/>
                </a:cubicBezTo>
                <a:cubicBezTo>
                  <a:pt x="381804" y="1732859"/>
                  <a:pt x="337752" y="1732859"/>
                  <a:pt x="308416" y="1762244"/>
                </a:cubicBezTo>
                <a:cubicBezTo>
                  <a:pt x="279031" y="1791628"/>
                  <a:pt x="279031" y="1835681"/>
                  <a:pt x="308416" y="1865017"/>
                </a:cubicBezTo>
                <a:cubicBezTo>
                  <a:pt x="514010" y="2077945"/>
                  <a:pt x="800375" y="2202768"/>
                  <a:pt x="1101408" y="2202768"/>
                </a:cubicBezTo>
                <a:cubicBezTo>
                  <a:pt x="1710809" y="2202768"/>
                  <a:pt x="2202768" y="1710809"/>
                  <a:pt x="2202768" y="1101360"/>
                </a:cubicBezTo>
                <a:cubicBezTo>
                  <a:pt x="2202768" y="491911"/>
                  <a:pt x="1710760" y="0"/>
                  <a:pt x="1101360" y="0"/>
                </a:cubicBezTo>
                <a:close/>
                <a:moveTo>
                  <a:pt x="550097" y="1364218"/>
                </a:moveTo>
                <a:lnTo>
                  <a:pt x="1652623" y="1364218"/>
                </a:lnTo>
                <a:cubicBezTo>
                  <a:pt x="1706292" y="1364218"/>
                  <a:pt x="1749761" y="1320748"/>
                  <a:pt x="1749761" y="1267079"/>
                </a:cubicBezTo>
                <a:cubicBezTo>
                  <a:pt x="1749761" y="1213409"/>
                  <a:pt x="1706292" y="1169940"/>
                  <a:pt x="1652623" y="1169940"/>
                </a:cubicBezTo>
                <a:lnTo>
                  <a:pt x="550097" y="1169940"/>
                </a:lnTo>
                <a:cubicBezTo>
                  <a:pt x="496428" y="1169940"/>
                  <a:pt x="452958" y="1213409"/>
                  <a:pt x="452958" y="1267079"/>
                </a:cubicBezTo>
                <a:cubicBezTo>
                  <a:pt x="452958" y="1320699"/>
                  <a:pt x="496428" y="1364218"/>
                  <a:pt x="550097" y="1364218"/>
                </a:cubicBezTo>
                <a:close/>
                <a:moveTo>
                  <a:pt x="550097" y="1032877"/>
                </a:moveTo>
                <a:lnTo>
                  <a:pt x="1652623" y="1032877"/>
                </a:lnTo>
                <a:cubicBezTo>
                  <a:pt x="1706292" y="1032877"/>
                  <a:pt x="1749761" y="989407"/>
                  <a:pt x="1749761" y="935738"/>
                </a:cubicBezTo>
                <a:cubicBezTo>
                  <a:pt x="1749761" y="882069"/>
                  <a:pt x="1706292" y="838599"/>
                  <a:pt x="1652623" y="838599"/>
                </a:cubicBezTo>
                <a:lnTo>
                  <a:pt x="550097" y="838599"/>
                </a:lnTo>
                <a:cubicBezTo>
                  <a:pt x="496428" y="838599"/>
                  <a:pt x="452958" y="882069"/>
                  <a:pt x="452958" y="935738"/>
                </a:cubicBezTo>
                <a:cubicBezTo>
                  <a:pt x="452958" y="989407"/>
                  <a:pt x="496428" y="1032877"/>
                  <a:pt x="550097" y="1032877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9311894-D5BA-481F-A342-C82BE2A295CE}"/>
              </a:ext>
            </a:extLst>
          </p:cNvPr>
          <p:cNvSpPr/>
          <p:nvPr/>
        </p:nvSpPr>
        <p:spPr>
          <a:xfrm>
            <a:off x="10616722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BDA8A40-CC04-43B4-87F0-6EFAE5DE5500}"/>
              </a:ext>
            </a:extLst>
          </p:cNvPr>
          <p:cNvSpPr/>
          <p:nvPr/>
        </p:nvSpPr>
        <p:spPr>
          <a:xfrm>
            <a:off x="9351284" y="4653136"/>
            <a:ext cx="535181" cy="535205"/>
          </a:xfrm>
          <a:custGeom>
            <a:avLst/>
            <a:gdLst>
              <a:gd name="connsiteX0" fmla="*/ 1101360 w 2202719"/>
              <a:gd name="connsiteY0" fmla="*/ 0 h 2202816"/>
              <a:gd name="connsiteX1" fmla="*/ 0 w 2202719"/>
              <a:gd name="connsiteY1" fmla="*/ 1101409 h 2202816"/>
              <a:gd name="connsiteX2" fmla="*/ 73437 w 2202719"/>
              <a:gd name="connsiteY2" fmla="*/ 1505263 h 2202816"/>
              <a:gd name="connsiteX3" fmla="*/ 168876 w 2202719"/>
              <a:gd name="connsiteY3" fmla="*/ 1549315 h 2202816"/>
              <a:gd name="connsiteX4" fmla="*/ 212928 w 2202719"/>
              <a:gd name="connsiteY4" fmla="*/ 1453876 h 2202816"/>
              <a:gd name="connsiteX5" fmla="*/ 146825 w 2202719"/>
              <a:gd name="connsiteY5" fmla="*/ 1101409 h 2202816"/>
              <a:gd name="connsiteX6" fmla="*/ 1101311 w 2202719"/>
              <a:gd name="connsiteY6" fmla="*/ 146874 h 2202816"/>
              <a:gd name="connsiteX7" fmla="*/ 2055797 w 2202719"/>
              <a:gd name="connsiteY7" fmla="*/ 1101409 h 2202816"/>
              <a:gd name="connsiteX8" fmla="*/ 1101311 w 2202719"/>
              <a:gd name="connsiteY8" fmla="*/ 2055943 h 2202816"/>
              <a:gd name="connsiteX9" fmla="*/ 411140 w 2202719"/>
              <a:gd name="connsiteY9" fmla="*/ 1762244 h 2202816"/>
              <a:gd name="connsiteX10" fmla="*/ 308367 w 2202719"/>
              <a:gd name="connsiteY10" fmla="*/ 1762244 h 2202816"/>
              <a:gd name="connsiteX11" fmla="*/ 308367 w 2202719"/>
              <a:gd name="connsiteY11" fmla="*/ 1865065 h 2202816"/>
              <a:gd name="connsiteX12" fmla="*/ 1101360 w 2202719"/>
              <a:gd name="connsiteY12" fmla="*/ 2202817 h 2202816"/>
              <a:gd name="connsiteX13" fmla="*/ 2202720 w 2202719"/>
              <a:gd name="connsiteY13" fmla="*/ 1101409 h 2202816"/>
              <a:gd name="connsiteX14" fmla="*/ 1101360 w 2202719"/>
              <a:gd name="connsiteY14" fmla="*/ 0 h 2202816"/>
              <a:gd name="connsiteX15" fmla="*/ 1101360 w 2202719"/>
              <a:gd name="connsiteY15" fmla="*/ 874832 h 2202816"/>
              <a:gd name="connsiteX16" fmla="*/ 1004221 w 2202719"/>
              <a:gd name="connsiteY16" fmla="*/ 971971 h 2202816"/>
              <a:gd name="connsiteX17" fmla="*/ 1004221 w 2202719"/>
              <a:gd name="connsiteY17" fmla="*/ 1652623 h 2202816"/>
              <a:gd name="connsiteX18" fmla="*/ 1101360 w 2202719"/>
              <a:gd name="connsiteY18" fmla="*/ 1749761 h 2202816"/>
              <a:gd name="connsiteX19" fmla="*/ 1198499 w 2202719"/>
              <a:gd name="connsiteY19" fmla="*/ 1652623 h 2202816"/>
              <a:gd name="connsiteX20" fmla="*/ 1198499 w 2202719"/>
              <a:gd name="connsiteY20" fmla="*/ 971971 h 2202816"/>
              <a:gd name="connsiteX21" fmla="*/ 1101360 w 2202719"/>
              <a:gd name="connsiteY21" fmla="*/ 874832 h 2202816"/>
              <a:gd name="connsiteX22" fmla="*/ 1100971 w 2202719"/>
              <a:gd name="connsiteY22" fmla="*/ 495991 h 2202816"/>
              <a:gd name="connsiteX23" fmla="*/ 989261 w 2202719"/>
              <a:gd name="connsiteY23" fmla="*/ 607700 h 2202816"/>
              <a:gd name="connsiteX24" fmla="*/ 1100971 w 2202719"/>
              <a:gd name="connsiteY24" fmla="*/ 719410 h 2202816"/>
              <a:gd name="connsiteX25" fmla="*/ 1212681 w 2202719"/>
              <a:gd name="connsiteY25" fmla="*/ 607700 h 2202816"/>
              <a:gd name="connsiteX26" fmla="*/ 1100971 w 2202719"/>
              <a:gd name="connsiteY26" fmla="*/ 495991 h 220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202719" h="2202816">
                <a:moveTo>
                  <a:pt x="1101360" y="0"/>
                </a:moveTo>
                <a:cubicBezTo>
                  <a:pt x="491959" y="0"/>
                  <a:pt x="0" y="491960"/>
                  <a:pt x="0" y="1101409"/>
                </a:cubicBezTo>
                <a:cubicBezTo>
                  <a:pt x="0" y="1240900"/>
                  <a:pt x="29384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5" y="1226232"/>
                  <a:pt x="146825" y="1101409"/>
                </a:cubicBezTo>
                <a:cubicBezTo>
                  <a:pt x="146825" y="572731"/>
                  <a:pt x="572681" y="146874"/>
                  <a:pt x="1101311" y="146874"/>
                </a:cubicBezTo>
                <a:cubicBezTo>
                  <a:pt x="1629941" y="146874"/>
                  <a:pt x="2055797" y="572731"/>
                  <a:pt x="2055797" y="1101409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0" y="2055943"/>
                  <a:pt x="587350" y="1945788"/>
                  <a:pt x="411140" y="1762244"/>
                </a:cubicBezTo>
                <a:cubicBezTo>
                  <a:pt x="381755" y="1732859"/>
                  <a:pt x="337703" y="1732859"/>
                  <a:pt x="308367" y="1762244"/>
                </a:cubicBezTo>
                <a:cubicBezTo>
                  <a:pt x="278982" y="1791628"/>
                  <a:pt x="278982" y="1835680"/>
                  <a:pt x="308367" y="1865065"/>
                </a:cubicBezTo>
                <a:cubicBezTo>
                  <a:pt x="513961" y="2077993"/>
                  <a:pt x="800326" y="2202817"/>
                  <a:pt x="1101360" y="2202817"/>
                </a:cubicBezTo>
                <a:cubicBezTo>
                  <a:pt x="1710760" y="2202817"/>
                  <a:pt x="2202720" y="1710857"/>
                  <a:pt x="2202720" y="1101409"/>
                </a:cubicBezTo>
                <a:cubicBezTo>
                  <a:pt x="2202720" y="491960"/>
                  <a:pt x="1710760" y="0"/>
                  <a:pt x="1101360" y="0"/>
                </a:cubicBezTo>
                <a:close/>
                <a:moveTo>
                  <a:pt x="1101360" y="874832"/>
                </a:moveTo>
                <a:cubicBezTo>
                  <a:pt x="1047690" y="874832"/>
                  <a:pt x="1004221" y="918302"/>
                  <a:pt x="1004221" y="971971"/>
                </a:cubicBezTo>
                <a:lnTo>
                  <a:pt x="1004221" y="1652623"/>
                </a:lnTo>
                <a:cubicBezTo>
                  <a:pt x="1004221" y="1706292"/>
                  <a:pt x="1047690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971971"/>
                </a:lnTo>
                <a:cubicBezTo>
                  <a:pt x="1198499" y="918350"/>
                  <a:pt x="1154980" y="874832"/>
                  <a:pt x="1101360" y="874832"/>
                </a:cubicBezTo>
                <a:close/>
                <a:moveTo>
                  <a:pt x="1100971" y="495991"/>
                </a:moveTo>
                <a:cubicBezTo>
                  <a:pt x="1039385" y="495991"/>
                  <a:pt x="989261" y="546114"/>
                  <a:pt x="989261" y="607700"/>
                </a:cubicBezTo>
                <a:cubicBezTo>
                  <a:pt x="989261" y="669287"/>
                  <a:pt x="1039385" y="719410"/>
                  <a:pt x="1100971" y="719410"/>
                </a:cubicBezTo>
                <a:cubicBezTo>
                  <a:pt x="1162557" y="719410"/>
                  <a:pt x="1212681" y="669287"/>
                  <a:pt x="1212681" y="607700"/>
                </a:cubicBezTo>
                <a:cubicBezTo>
                  <a:pt x="1212681" y="546114"/>
                  <a:pt x="1162557" y="495991"/>
                  <a:pt x="1100971" y="495991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9A2D857-323D-4CC8-A7AF-1949815B3D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56777" y="5337212"/>
            <a:ext cx="427236" cy="557313"/>
          </a:xfrm>
          <a:prstGeom prst="rect">
            <a:avLst/>
          </a:prstGeom>
        </p:spPr>
      </p:pic>
      <p:sp>
        <p:nvSpPr>
          <p:cNvPr id="12" name="Grafik 8">
            <a:extLst>
              <a:ext uri="{FF2B5EF4-FFF2-40B4-BE49-F238E27FC236}">
                <a16:creationId xmlns:a16="http://schemas.microsoft.com/office/drawing/2014/main" id="{D1864F9C-D3B3-41E8-BEA1-41D1E5284569}"/>
              </a:ext>
            </a:extLst>
          </p:cNvPr>
          <p:cNvSpPr>
            <a:spLocks noChangeAspect="1"/>
          </p:cNvSpPr>
          <p:nvPr/>
        </p:nvSpPr>
        <p:spPr>
          <a:xfrm>
            <a:off x="8713758" y="4648341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C154AC3-934F-4DA2-81AD-D1CC1713B7AB}"/>
              </a:ext>
            </a:extLst>
          </p:cNvPr>
          <p:cNvSpPr>
            <a:spLocks noEditPoints="1"/>
          </p:cNvSpPr>
          <p:nvPr/>
        </p:nvSpPr>
        <p:spPr bwMode="auto">
          <a:xfrm>
            <a:off x="8075613" y="4648200"/>
            <a:ext cx="541337" cy="539750"/>
          </a:xfrm>
          <a:custGeom>
            <a:avLst/>
            <a:gdLst>
              <a:gd name="T0" fmla="*/ 1318 w 1814"/>
              <a:gd name="T1" fmla="*/ 623 h 1814"/>
              <a:gd name="T2" fmla="*/ 914 w 1814"/>
              <a:gd name="T3" fmla="*/ 305 h 1814"/>
              <a:gd name="T4" fmla="*/ 763 w 1814"/>
              <a:gd name="T5" fmla="*/ 305 h 1814"/>
              <a:gd name="T6" fmla="*/ 683 w 1814"/>
              <a:gd name="T7" fmla="*/ 385 h 1814"/>
              <a:gd name="T8" fmla="*/ 763 w 1814"/>
              <a:gd name="T9" fmla="*/ 465 h 1814"/>
              <a:gd name="T10" fmla="*/ 914 w 1814"/>
              <a:gd name="T11" fmla="*/ 465 h 1814"/>
              <a:gd name="T12" fmla="*/ 1158 w 1814"/>
              <a:gd name="T13" fmla="*/ 623 h 1814"/>
              <a:gd name="T14" fmla="*/ 914 w 1814"/>
              <a:gd name="T15" fmla="*/ 780 h 1814"/>
              <a:gd name="T16" fmla="*/ 834 w 1814"/>
              <a:gd name="T17" fmla="*/ 860 h 1814"/>
              <a:gd name="T18" fmla="*/ 834 w 1814"/>
              <a:gd name="T19" fmla="*/ 1033 h 1814"/>
              <a:gd name="T20" fmla="*/ 914 w 1814"/>
              <a:gd name="T21" fmla="*/ 1113 h 1814"/>
              <a:gd name="T22" fmla="*/ 994 w 1814"/>
              <a:gd name="T23" fmla="*/ 1033 h 1814"/>
              <a:gd name="T24" fmla="*/ 994 w 1814"/>
              <a:gd name="T25" fmla="*/ 938 h 1814"/>
              <a:gd name="T26" fmla="*/ 1318 w 1814"/>
              <a:gd name="T27" fmla="*/ 623 h 1814"/>
              <a:gd name="T28" fmla="*/ 906 w 1814"/>
              <a:gd name="T29" fmla="*/ 1257 h 1814"/>
              <a:gd name="T30" fmla="*/ 814 w 1814"/>
              <a:gd name="T31" fmla="*/ 1349 h 1814"/>
              <a:gd name="T32" fmla="*/ 906 w 1814"/>
              <a:gd name="T33" fmla="*/ 1441 h 1814"/>
              <a:gd name="T34" fmla="*/ 998 w 1814"/>
              <a:gd name="T35" fmla="*/ 1349 h 1814"/>
              <a:gd name="T36" fmla="*/ 906 w 1814"/>
              <a:gd name="T37" fmla="*/ 1257 h 1814"/>
              <a:gd name="T38" fmla="*/ 907 w 1814"/>
              <a:gd name="T39" fmla="*/ 0 h 1814"/>
              <a:gd name="T40" fmla="*/ 0 w 1814"/>
              <a:gd name="T41" fmla="*/ 907 h 1814"/>
              <a:gd name="T42" fmla="*/ 60 w 1814"/>
              <a:gd name="T43" fmla="*/ 1239 h 1814"/>
              <a:gd name="T44" fmla="*/ 139 w 1814"/>
              <a:gd name="T45" fmla="*/ 1276 h 1814"/>
              <a:gd name="T46" fmla="*/ 175 w 1814"/>
              <a:gd name="T47" fmla="*/ 1197 h 1814"/>
              <a:gd name="T48" fmla="*/ 121 w 1814"/>
              <a:gd name="T49" fmla="*/ 907 h 1814"/>
              <a:gd name="T50" fmla="*/ 907 w 1814"/>
              <a:gd name="T51" fmla="*/ 121 h 1814"/>
              <a:gd name="T52" fmla="*/ 1693 w 1814"/>
              <a:gd name="T53" fmla="*/ 907 h 1814"/>
              <a:gd name="T54" fmla="*/ 907 w 1814"/>
              <a:gd name="T55" fmla="*/ 1693 h 1814"/>
              <a:gd name="T56" fmla="*/ 338 w 1814"/>
              <a:gd name="T57" fmla="*/ 1451 h 1814"/>
              <a:gd name="T58" fmla="*/ 254 w 1814"/>
              <a:gd name="T59" fmla="*/ 1451 h 1814"/>
              <a:gd name="T60" fmla="*/ 254 w 1814"/>
              <a:gd name="T61" fmla="*/ 1536 h 1814"/>
              <a:gd name="T62" fmla="*/ 907 w 1814"/>
              <a:gd name="T63" fmla="*/ 1814 h 1814"/>
              <a:gd name="T64" fmla="*/ 1814 w 1814"/>
              <a:gd name="T65" fmla="*/ 907 h 1814"/>
              <a:gd name="T66" fmla="*/ 907 w 1814"/>
              <a:gd name="T67" fmla="*/ 0 h 1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14" h="1814">
                <a:moveTo>
                  <a:pt x="1318" y="623"/>
                </a:moveTo>
                <a:cubicBezTo>
                  <a:pt x="1318" y="305"/>
                  <a:pt x="1035" y="305"/>
                  <a:pt x="914" y="305"/>
                </a:cubicBezTo>
                <a:cubicBezTo>
                  <a:pt x="763" y="305"/>
                  <a:pt x="763" y="305"/>
                  <a:pt x="763" y="305"/>
                </a:cubicBezTo>
                <a:cubicBezTo>
                  <a:pt x="719" y="305"/>
                  <a:pt x="683" y="341"/>
                  <a:pt x="683" y="385"/>
                </a:cubicBezTo>
                <a:cubicBezTo>
                  <a:pt x="683" y="429"/>
                  <a:pt x="719" y="465"/>
                  <a:pt x="763" y="465"/>
                </a:cubicBezTo>
                <a:cubicBezTo>
                  <a:pt x="914" y="465"/>
                  <a:pt x="914" y="465"/>
                  <a:pt x="914" y="465"/>
                </a:cubicBezTo>
                <a:cubicBezTo>
                  <a:pt x="1124" y="465"/>
                  <a:pt x="1158" y="511"/>
                  <a:pt x="1158" y="623"/>
                </a:cubicBezTo>
                <a:cubicBezTo>
                  <a:pt x="1158" y="734"/>
                  <a:pt x="1124" y="780"/>
                  <a:pt x="914" y="780"/>
                </a:cubicBezTo>
                <a:cubicBezTo>
                  <a:pt x="870" y="780"/>
                  <a:pt x="834" y="816"/>
                  <a:pt x="834" y="860"/>
                </a:cubicBezTo>
                <a:cubicBezTo>
                  <a:pt x="834" y="1033"/>
                  <a:pt x="834" y="1033"/>
                  <a:pt x="834" y="1033"/>
                </a:cubicBezTo>
                <a:cubicBezTo>
                  <a:pt x="834" y="1077"/>
                  <a:pt x="870" y="1113"/>
                  <a:pt x="914" y="1113"/>
                </a:cubicBezTo>
                <a:cubicBezTo>
                  <a:pt x="958" y="1113"/>
                  <a:pt x="994" y="1077"/>
                  <a:pt x="994" y="1033"/>
                </a:cubicBezTo>
                <a:cubicBezTo>
                  <a:pt x="994" y="938"/>
                  <a:pt x="994" y="938"/>
                  <a:pt x="994" y="938"/>
                </a:cubicBezTo>
                <a:cubicBezTo>
                  <a:pt x="1129" y="930"/>
                  <a:pt x="1318" y="882"/>
                  <a:pt x="1318" y="623"/>
                </a:cubicBezTo>
                <a:close/>
                <a:moveTo>
                  <a:pt x="906" y="1257"/>
                </a:moveTo>
                <a:cubicBezTo>
                  <a:pt x="856" y="1257"/>
                  <a:pt x="814" y="1298"/>
                  <a:pt x="814" y="1349"/>
                </a:cubicBezTo>
                <a:cubicBezTo>
                  <a:pt x="814" y="1400"/>
                  <a:pt x="856" y="1441"/>
                  <a:pt x="906" y="1441"/>
                </a:cubicBezTo>
                <a:cubicBezTo>
                  <a:pt x="957" y="1441"/>
                  <a:pt x="998" y="1400"/>
                  <a:pt x="998" y="1349"/>
                </a:cubicBezTo>
                <a:cubicBezTo>
                  <a:pt x="998" y="1298"/>
                  <a:pt x="957" y="1257"/>
                  <a:pt x="906" y="1257"/>
                </a:cubicBezTo>
                <a:close/>
                <a:moveTo>
                  <a:pt x="907" y="0"/>
                </a:moveTo>
                <a:cubicBezTo>
                  <a:pt x="405" y="0"/>
                  <a:pt x="0" y="405"/>
                  <a:pt x="0" y="907"/>
                </a:cubicBezTo>
                <a:cubicBezTo>
                  <a:pt x="0" y="1022"/>
                  <a:pt x="24" y="1137"/>
                  <a:pt x="60" y="1239"/>
                </a:cubicBezTo>
                <a:cubicBezTo>
                  <a:pt x="72" y="1276"/>
                  <a:pt x="108" y="1288"/>
                  <a:pt x="139" y="1276"/>
                </a:cubicBezTo>
                <a:cubicBezTo>
                  <a:pt x="175" y="1264"/>
                  <a:pt x="187" y="1227"/>
                  <a:pt x="175" y="1197"/>
                </a:cubicBezTo>
                <a:cubicBezTo>
                  <a:pt x="139" y="1106"/>
                  <a:pt x="121" y="1010"/>
                  <a:pt x="121" y="907"/>
                </a:cubicBezTo>
                <a:cubicBezTo>
                  <a:pt x="121" y="471"/>
                  <a:pt x="471" y="121"/>
                  <a:pt x="907" y="121"/>
                </a:cubicBezTo>
                <a:cubicBezTo>
                  <a:pt x="1342" y="121"/>
                  <a:pt x="1693" y="471"/>
                  <a:pt x="1693" y="907"/>
                </a:cubicBezTo>
                <a:cubicBezTo>
                  <a:pt x="1693" y="1342"/>
                  <a:pt x="1342" y="1693"/>
                  <a:pt x="907" y="1693"/>
                </a:cubicBezTo>
                <a:cubicBezTo>
                  <a:pt x="695" y="1693"/>
                  <a:pt x="483" y="1602"/>
                  <a:pt x="338" y="1451"/>
                </a:cubicBezTo>
                <a:cubicBezTo>
                  <a:pt x="314" y="1427"/>
                  <a:pt x="278" y="1427"/>
                  <a:pt x="254" y="1451"/>
                </a:cubicBezTo>
                <a:cubicBezTo>
                  <a:pt x="229" y="1475"/>
                  <a:pt x="229" y="1512"/>
                  <a:pt x="254" y="1536"/>
                </a:cubicBezTo>
                <a:cubicBezTo>
                  <a:pt x="423" y="1711"/>
                  <a:pt x="659" y="1814"/>
                  <a:pt x="907" y="1814"/>
                </a:cubicBezTo>
                <a:cubicBezTo>
                  <a:pt x="1409" y="1814"/>
                  <a:pt x="1814" y="1409"/>
                  <a:pt x="1814" y="907"/>
                </a:cubicBezTo>
                <a:cubicBezTo>
                  <a:pt x="1814" y="405"/>
                  <a:pt x="1409" y="0"/>
                  <a:pt x="90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94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4A216D-DDB5-4B64-ADB9-BD8F8396F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7BBECA-E90A-4CC7-B6BD-63807253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9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10632632" y="606796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atterielad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ioga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onu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Call Cente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infach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Elektromobi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agazi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st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ledig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neuerbare Energi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ahrsimulation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a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ftra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tra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stallation der Wallbox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ontaktaufnahme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D2A1F5A7-A7DB-4789-B999-112D36982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9513" y="5240234"/>
            <a:ext cx="698238" cy="698238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7BDDBD1-7DAB-4DEC-B017-48D27BE19A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77521" y="1881186"/>
            <a:ext cx="698238" cy="6982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156FBC8-E6CD-469F-BA1A-E76B22511A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38184" y="1881186"/>
            <a:ext cx="698238" cy="6982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01BB258-5CED-44CC-BEBF-97562408BC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847" y="1881186"/>
            <a:ext cx="698238" cy="6982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55FB30A6-8853-4722-9C9C-FD0C502871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095532" y="3548404"/>
            <a:ext cx="698238" cy="698238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9995824E-5B8C-424F-8563-026DFF3156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56195" y="3548404"/>
            <a:ext cx="698238" cy="698238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F57D5283-5545-489C-9E26-B336363BF97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16858" y="3548404"/>
            <a:ext cx="698238" cy="69823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0E9240EB-044A-438D-9B0A-E1A21F86989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38184" y="3548404"/>
            <a:ext cx="698238" cy="698238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A2854686-1CE5-4039-B563-ADB017722E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477521" y="3548404"/>
            <a:ext cx="698238" cy="698238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65188959-E093-4041-A0E4-A8D8BEFCC35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398847" y="3548404"/>
            <a:ext cx="698238" cy="698238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F24C8FAA-A3F7-4579-BB70-D92A72C035D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859513" y="3548404"/>
            <a:ext cx="698238" cy="698238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7A5F217B-D93B-48D9-8E3D-4648DF0E4A0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095532" y="524023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DCBEF2DC-7ADD-44AA-BA5C-8D5FE8242B81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556195" y="524023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245FCA9C-51E4-474F-B59D-1DC30202FF2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521" y="5240234"/>
            <a:ext cx="698238" cy="698238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ECE78F0-84C5-4D62-97E9-9CA43BBE88E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016858" y="5240234"/>
            <a:ext cx="698238" cy="698238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EBF30DE-0518-4E58-A1B1-EE863941F0E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938184" y="5240234"/>
            <a:ext cx="698238" cy="69823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BA8BE430-166C-4D97-B7D6-E08E0FF08E65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98847" y="5240234"/>
            <a:ext cx="698238" cy="69823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9DFB2262-D930-323B-6F7E-6BDE0103BC68}"/>
              </a:ext>
            </a:extLst>
          </p:cNvPr>
          <p:cNvSpPr/>
          <p:nvPr/>
        </p:nvSpPr>
        <p:spPr>
          <a:xfrm>
            <a:off x="630214" y="606796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strom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F40A0F3-8B56-CDFE-A46F-17705FCCA2C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57715" y="5240234"/>
            <a:ext cx="698238" cy="698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685CAF4-499D-6EEB-CB50-628C1C9ACB0D}"/>
              </a:ext>
            </a:extLst>
          </p:cNvPr>
          <p:cNvSpPr/>
          <p:nvPr/>
        </p:nvSpPr>
        <p:spPr>
          <a:xfrm>
            <a:off x="630214" y="437613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2C87E868-7DCA-FAA5-D705-3D3536650348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857715" y="3548404"/>
            <a:ext cx="698238" cy="698238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3E0A9C47-FF62-140F-E07F-45500CF0FD9B}"/>
              </a:ext>
            </a:extLst>
          </p:cNvPr>
          <p:cNvSpPr/>
          <p:nvPr/>
        </p:nvSpPr>
        <p:spPr>
          <a:xfrm>
            <a:off x="632218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1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3FA2716C-F5BA-0ECF-F8D4-8591C08693CD}"/>
              </a:ext>
            </a:extLst>
          </p:cNvPr>
          <p:cNvSpPr/>
          <p:nvPr/>
        </p:nvSpPr>
        <p:spPr>
          <a:xfrm>
            <a:off x="2092881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2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88AC7C0E-F1A7-C291-512E-5E21F840CDA3}"/>
              </a:ext>
            </a:extLst>
          </p:cNvPr>
          <p:cNvSpPr/>
          <p:nvPr/>
        </p:nvSpPr>
        <p:spPr>
          <a:xfrm>
            <a:off x="3553544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3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6C477127-518E-2CD2-E825-6DF59C4F8354}"/>
              </a:ext>
            </a:extLst>
          </p:cNvPr>
          <p:cNvSpPr/>
          <p:nvPr/>
        </p:nvSpPr>
        <p:spPr>
          <a:xfrm>
            <a:off x="5014210" y="270957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4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4CF70DE4-5481-CD2B-653F-FE5A5A79F1CE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859719" y="1881839"/>
            <a:ext cx="698238" cy="698238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56D502D7-E559-BDBD-BE0F-CF822815C8F2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320382" y="1881839"/>
            <a:ext cx="698238" cy="698238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7C3AA1D1-9B32-D3F5-5EFF-766F97D0AFC4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781045" y="1881839"/>
            <a:ext cx="698238" cy="698238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995C308F-2047-0AB6-7594-0C7974D30422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5241711" y="1881839"/>
            <a:ext cx="698238" cy="698238"/>
          </a:xfrm>
          <a:prstGeom prst="rect">
            <a:avLst/>
          </a:prstGeom>
        </p:spPr>
      </p:pic>
      <p:sp>
        <p:nvSpPr>
          <p:cNvPr id="71" name="Rechteck 70">
            <a:extLst>
              <a:ext uri="{FF2B5EF4-FFF2-40B4-BE49-F238E27FC236}">
                <a16:creationId xmlns:a16="http://schemas.microsoft.com/office/drawing/2014/main" id="{4DE0CE1C-DC19-FEA0-52DB-434A001CCA0C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72E10A8D-8FC5-96D3-5F31-46369F97148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859513" y="1881188"/>
            <a:ext cx="698238" cy="698238"/>
          </a:xfrm>
          <a:prstGeom prst="rect">
            <a:avLst/>
          </a:prstGeom>
        </p:spPr>
      </p:pic>
      <p:sp>
        <p:nvSpPr>
          <p:cNvPr id="9" name="Textfeld 7">
            <a:extLst>
              <a:ext uri="{FF2B5EF4-FFF2-40B4-BE49-F238E27FC236}">
                <a16:creationId xmlns:a16="http://schemas.microsoft.com/office/drawing/2014/main" id="{425986B8-B85A-3C77-ADAF-1F40CA84E0DA}"/>
              </a:ext>
            </a:extLst>
          </p:cNvPr>
          <p:cNvSpPr txBox="1"/>
          <p:nvPr/>
        </p:nvSpPr>
        <p:spPr>
          <a:xfrm>
            <a:off x="9478800" y="864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stetig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48"/>
              </a:rPr>
              <a:t>Netze BW | Design Guide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48"/>
              </a:rPr>
              <a:t>Bynder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01B908C-DA06-4462-68C7-141A2734C818}"/>
              </a:ext>
            </a:extLst>
          </p:cNvPr>
          <p:cNvSpPr txBox="1">
            <a:spLocks/>
          </p:cNvSpPr>
          <p:nvPr/>
        </p:nvSpPr>
        <p:spPr>
          <a:xfrm>
            <a:off x="7968209" y="403903"/>
            <a:ext cx="1440160" cy="1440160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</p:spTree>
    <p:extLst>
      <p:ext uri="{BB962C8B-B14F-4D97-AF65-F5344CB8AC3E}">
        <p14:creationId xmlns:p14="http://schemas.microsoft.com/office/powerpoint/2010/main" val="192597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0601" y="2348880"/>
            <a:ext cx="6983412" cy="2700300"/>
          </a:xfrm>
        </p:spPr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0600" y="6201308"/>
            <a:ext cx="4931299" cy="288000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7" name="Bildplatzhalter 6" descr="Ein Bild, das Person, Menschliches Gesicht, Kleidung, Mann enthält.&#10;&#10;Automatisch generierte Beschreibung">
            <a:extLst>
              <a:ext uri="{FF2B5EF4-FFF2-40B4-BE49-F238E27FC236}">
                <a16:creationId xmlns:a16="http://schemas.microsoft.com/office/drawing/2014/main" id="{580202C9-86AC-2AEA-63FC-63E83D4109D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98233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E1C7F39-33F0-4A4F-BCD5-831ADF3DD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BB11E-61A3-4167-9652-77E9714F1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esprechungs-bereic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uchba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üromateriali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inan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chäftsreis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ellschaf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CCA53A-ED4A-44DF-897C-FF8822F0AB2A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5C0878-D46F-42E1-B4BE-08B50EB6586F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apitalmark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limaneutral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mune Stadtwerk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ante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itarbeiter*inn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verlust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Politik Medi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ückzugsra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3 Upstrea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ategi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Teeküch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27610CA-0971-4F1D-A1DB-8D379C3950F2}"/>
              </a:ext>
            </a:extLst>
          </p:cNvPr>
          <p:cNvSpPr/>
          <p:nvPr/>
        </p:nvSpPr>
        <p:spPr>
          <a:xfrm>
            <a:off x="1063263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D9FDC471-A8C8-4146-9103-87CD1EBD1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AA7DACA9-22B9-4462-BAB7-F44A34C4F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498B8773-C6BA-46DA-A5C0-4EA5A9EE4B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DA6DA035-A559-43DA-8570-5142C48674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0CA6FF6D-B681-48CF-938B-D92D73CD5B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74325608-2446-44AF-93B0-A3310BFCEA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635C0453-07D7-455C-B40A-DBFE6F7121B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00CCDDFD-C0C3-4C96-818A-559A99CD358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50C0439-9DAD-42A9-B7C9-B045C8C506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3AC3B880-7713-40CA-A28E-18A6182C2A0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B70685C6-1BAE-4116-BB6F-7FB84E2A6B5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8E8268A2-EB31-4BBE-980C-BD73CD0AE3D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E99C2B12-AD0E-4FCD-871A-55F76A4DAED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398766" y="3537396"/>
            <a:ext cx="698400" cy="69840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DE6BC3A9-267E-43D9-928F-1D8C71717DC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859432" y="3537396"/>
            <a:ext cx="698400" cy="6984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C7111E49-D21C-4C9F-A191-6B598B5FBAD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095451" y="5229584"/>
            <a:ext cx="698400" cy="69840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17D6206A-F5E4-4EA2-B2FA-8313D6C68F9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556114" y="5229584"/>
            <a:ext cx="698400" cy="69840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2F78CAAE-2FEA-42B7-AAF9-A004AC2676D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016777" y="5229584"/>
            <a:ext cx="698400" cy="69840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E51D10D7-7648-4B49-B237-7F31B9AAB77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38103" y="5229584"/>
            <a:ext cx="698400" cy="698400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48144EC9-C12B-4C2B-B780-9AA5539014D2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398766" y="5229584"/>
            <a:ext cx="698400" cy="6984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29AD60E9-BA2A-4715-B26D-9EFB2399AD2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859432" y="5229584"/>
            <a:ext cx="698400" cy="6984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BEFEBA-5502-4717-A050-656D4C60B316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945CAC6-E418-4F50-849B-D4C0FC92B1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5AF836F5-54BF-4000-A755-704369FDC8BA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477440" y="5229584"/>
            <a:ext cx="698400" cy="6984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8F492A2E-BC9A-34FF-77F2-0FD9D24B6EAA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634168" y="5293442"/>
            <a:ext cx="702000" cy="702000"/>
          </a:xfrm>
          <a:prstGeom prst="rect">
            <a:avLst/>
          </a:prstGeom>
        </p:spPr>
      </p:pic>
      <p:sp>
        <p:nvSpPr>
          <p:cNvPr id="39" name="Rechteck 38">
            <a:extLst>
              <a:ext uri="{FF2B5EF4-FFF2-40B4-BE49-F238E27FC236}">
                <a16:creationId xmlns:a16="http://schemas.microsoft.com/office/drawing/2014/main" id="{190463B6-9674-D24D-8A3D-FF6546953857}"/>
              </a:ext>
            </a:extLst>
          </p:cNvPr>
          <p:cNvSpPr/>
          <p:nvPr/>
        </p:nvSpPr>
        <p:spPr>
          <a:xfrm>
            <a:off x="409168" y="6070735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ownload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1B40783-207B-0A66-8AA9-82AD32EBF5ED}"/>
              </a:ext>
            </a:extLst>
          </p:cNvPr>
          <p:cNvSpPr txBox="1">
            <a:spLocks/>
          </p:cNvSpPr>
          <p:nvPr/>
        </p:nvSpPr>
        <p:spPr>
          <a:xfrm>
            <a:off x="7968209" y="403903"/>
            <a:ext cx="1440160" cy="1440160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32" name="Textfeld 7">
            <a:extLst>
              <a:ext uri="{FF2B5EF4-FFF2-40B4-BE49-F238E27FC236}">
                <a16:creationId xmlns:a16="http://schemas.microsoft.com/office/drawing/2014/main" id="{ADAECF12-166A-82EE-A61F-C34DB19F2E4A}"/>
              </a:ext>
            </a:extLst>
          </p:cNvPr>
          <p:cNvSpPr txBox="1"/>
          <p:nvPr/>
        </p:nvSpPr>
        <p:spPr>
          <a:xfrm>
            <a:off x="9478800" y="864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stetig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Netze BW | Design Guide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Bynder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91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B193C101-57A6-42AF-A9CB-933D2231E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0C23C926-0B14-4013-BCBE-230D5C6A9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1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67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initiati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34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fraerzeug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00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nel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66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Digita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02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netz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65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logisch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103B7175-02AC-4243-928A-99081B675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478" y="1881188"/>
            <a:ext cx="698400" cy="6984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C2D4F198-53FE-47CB-A264-764AADECC6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5141" y="1881188"/>
            <a:ext cx="698400" cy="69840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10ED9C9E-7B14-41B8-AD72-A7D5C7EE0B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5885" y="1881188"/>
            <a:ext cx="698238" cy="698238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99A94234-AEB9-4CD0-B61F-F125015DA1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16467" y="1881188"/>
            <a:ext cx="698400" cy="698400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E4809FAB-BF42-45DD-954A-11BDE5BAF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76820" y="1881188"/>
            <a:ext cx="698400" cy="698400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F8F455E-A619-4272-861B-0F2E5B64E3B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456" y="1881188"/>
            <a:ext cx="698400" cy="6984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073E05DC-5545-45D4-84CA-11C254A0696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858812" y="5229584"/>
            <a:ext cx="698400" cy="6984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D473C479-F5F1-42BF-A0C9-FBFFAAFAF48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398456" y="5229584"/>
            <a:ext cx="698400" cy="6984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3D3CCA6C-B0D9-4472-AEDE-97FF22BC9B3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37793" y="5229584"/>
            <a:ext cx="698400" cy="6984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66E95543-CCA1-4B70-A451-301D624C3CA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476820" y="5229584"/>
            <a:ext cx="698400" cy="6984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6E955DB-EAF3-498E-9886-CB750B11FB7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016467" y="5229584"/>
            <a:ext cx="698400" cy="6984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F16B85-51C4-4723-ACB1-7EBE5562126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555804" y="5229584"/>
            <a:ext cx="698400" cy="6984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40B9610-DD29-464B-A6FC-19199E8FC3F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095141" y="5229584"/>
            <a:ext cx="698400" cy="6984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10D0C691-BC11-40D1-B6A0-39AEF89632D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34478" y="5229584"/>
            <a:ext cx="698400" cy="6984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7DEAFC02-E0F1-42EB-A328-FAD344997E4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858812" y="3537396"/>
            <a:ext cx="698400" cy="6984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23F54E38-59C2-43AB-B50B-948E2ED3AF1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398456" y="3537396"/>
            <a:ext cx="698400" cy="69840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461C06-A85A-40E8-8071-6E41D146C80E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937793" y="3537396"/>
            <a:ext cx="698400" cy="6984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11759213-01C5-426C-8573-6822F9447F0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095141" y="3537396"/>
            <a:ext cx="698400" cy="6984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0D6ADB6-4A83-4E0A-9C24-19CD08E5BE4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55804" y="3537396"/>
            <a:ext cx="698400" cy="6984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6D028F8-84EF-46CB-92B7-8390E22A755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34478" y="3537396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B057CE6-AF64-429A-916F-30D7E003617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858812" y="1881188"/>
            <a:ext cx="698400" cy="698400"/>
          </a:xfrm>
          <a:prstGeom prst="rect">
            <a:avLst/>
          </a:prstGeom>
        </p:spPr>
      </p:pic>
      <p:sp>
        <p:nvSpPr>
          <p:cNvPr id="65" name="Rechteck 64">
            <a:extLst>
              <a:ext uri="{FF2B5EF4-FFF2-40B4-BE49-F238E27FC236}">
                <a16:creationId xmlns:a16="http://schemas.microsoft.com/office/drawing/2014/main" id="{E3D398EC-C13E-4D83-9522-E22308737D74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lic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17CE601D-5624-4311-AA71-B5FD6FD91952}"/>
              </a:ext>
            </a:extLst>
          </p:cNvPr>
          <p:cNvSpPr/>
          <p:nvPr/>
        </p:nvSpPr>
        <p:spPr>
          <a:xfrm>
            <a:off x="40767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o-Working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2CA4A29-2C91-441D-A2D4-0B10EDC5AE86}"/>
              </a:ext>
            </a:extLst>
          </p:cNvPr>
          <p:cNvSpPr/>
          <p:nvPr/>
        </p:nvSpPr>
        <p:spPr>
          <a:xfrm>
            <a:off x="186834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hoch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911AE7A-D454-4491-8E70-FE66C3132BFB}"/>
              </a:ext>
            </a:extLst>
          </p:cNvPr>
          <p:cNvSpPr/>
          <p:nvPr/>
        </p:nvSpPr>
        <p:spPr>
          <a:xfrm>
            <a:off x="332900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runter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B2EF0163-F16D-4FB4-9232-70E0FE41E04C}"/>
              </a:ext>
            </a:extLst>
          </p:cNvPr>
          <p:cNvSpPr/>
          <p:nvPr/>
        </p:nvSpPr>
        <p:spPr>
          <a:xfrm>
            <a:off x="478966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07B510B-37FD-41AE-B854-4129D43BD31D}"/>
              </a:ext>
            </a:extLst>
          </p:cNvPr>
          <p:cNvSpPr/>
          <p:nvPr/>
        </p:nvSpPr>
        <p:spPr>
          <a:xfrm>
            <a:off x="625002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3E2395-63AC-454B-B51E-B097B0B7ABBD}"/>
              </a:ext>
            </a:extLst>
          </p:cNvPr>
          <p:cNvSpPr/>
          <p:nvPr/>
        </p:nvSpPr>
        <p:spPr>
          <a:xfrm>
            <a:off x="771099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3E71BD8-59EB-4298-8D46-A54D8866898D}"/>
              </a:ext>
            </a:extLst>
          </p:cNvPr>
          <p:cNvSpPr/>
          <p:nvPr/>
        </p:nvSpPr>
        <p:spPr>
          <a:xfrm>
            <a:off x="917165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bäude Infrastruktur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D0F7486-25E8-41DD-98D4-7C398153BBC7}"/>
              </a:ext>
            </a:extLst>
          </p:cNvPr>
          <p:cNvSpPr/>
          <p:nvPr/>
        </p:nvSpPr>
        <p:spPr>
          <a:xfrm>
            <a:off x="1063201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deck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ABC7CB-883D-4681-BABE-BA17CDF8A16F}"/>
              </a:ext>
            </a:extLst>
          </p:cNvPr>
          <p:cNvSpPr/>
          <p:nvPr/>
        </p:nvSpPr>
        <p:spPr>
          <a:xfrm>
            <a:off x="40767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Idee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A21F183-E91B-46F1-B94A-CB446DAB648C}"/>
              </a:ext>
            </a:extLst>
          </p:cNvPr>
          <p:cNvSpPr/>
          <p:nvPr/>
        </p:nvSpPr>
        <p:spPr>
          <a:xfrm>
            <a:off x="186834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arriereportal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6563531-A7B8-44C0-9DEF-ADA8B4131F3B}"/>
              </a:ext>
            </a:extLst>
          </p:cNvPr>
          <p:cNvSpPr/>
          <p:nvPr/>
        </p:nvSpPr>
        <p:spPr>
          <a:xfrm>
            <a:off x="332900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petenz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599EE185-50B4-49C5-906C-1251E6D59DCE}"/>
              </a:ext>
            </a:extLst>
          </p:cNvPr>
          <p:cNvSpPr/>
          <p:nvPr/>
        </p:nvSpPr>
        <p:spPr>
          <a:xfrm>
            <a:off x="478966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raftwerk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4D92D78-3827-49E5-8758-02D1B9B62EB9}"/>
              </a:ext>
            </a:extLst>
          </p:cNvPr>
          <p:cNvSpPr/>
          <p:nvPr/>
        </p:nvSpPr>
        <p:spPr>
          <a:xfrm>
            <a:off x="6188040" y="6057316"/>
            <a:ext cx="127596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hr Unternehmens-struktur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B7BA7B6C-0D13-4A1F-B3B7-F466EA48245B}"/>
              </a:ext>
            </a:extLst>
          </p:cNvPr>
          <p:cNvSpPr/>
          <p:nvPr/>
        </p:nvSpPr>
        <p:spPr>
          <a:xfrm>
            <a:off x="771099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Nachhaltigkeit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87818438-8FDD-4F28-A6ED-D4CA2E158C6F}"/>
              </a:ext>
            </a:extLst>
          </p:cNvPr>
          <p:cNvSpPr/>
          <p:nvPr/>
        </p:nvSpPr>
        <p:spPr>
          <a:xfrm>
            <a:off x="917165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rozess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FEC14D1-9735-4B1F-85E8-87D691CE9864}"/>
              </a:ext>
            </a:extLst>
          </p:cNvPr>
          <p:cNvSpPr/>
          <p:nvPr/>
        </p:nvSpPr>
        <p:spPr>
          <a:xfrm>
            <a:off x="1063201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Rech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BA4F057-EFAE-49BD-9303-D05A5B693726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5016467" y="3537396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5A9C014-471A-45FB-A18D-822CC5F9680D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476820" y="3537396"/>
            <a:ext cx="698400" cy="6984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9F024EBC-FE17-644D-73AD-5482E1753242}"/>
              </a:ext>
            </a:extLst>
          </p:cNvPr>
          <p:cNvSpPr/>
          <p:nvPr/>
        </p:nvSpPr>
        <p:spPr>
          <a:xfrm>
            <a:off x="7710454" y="270497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parsam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74A4A09-9783-52AB-F535-30DB6CAB5961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7937955" y="1877246"/>
            <a:ext cx="698238" cy="698238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D4D50A7-E3C0-7363-4EAE-F4D47C20643E}"/>
              </a:ext>
            </a:extLst>
          </p:cNvPr>
          <p:cNvSpPr txBox="1">
            <a:spLocks/>
          </p:cNvSpPr>
          <p:nvPr/>
        </p:nvSpPr>
        <p:spPr>
          <a:xfrm>
            <a:off x="7968209" y="403903"/>
            <a:ext cx="1440160" cy="1440160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17" name="Textfeld 7">
            <a:extLst>
              <a:ext uri="{FF2B5EF4-FFF2-40B4-BE49-F238E27FC236}">
                <a16:creationId xmlns:a16="http://schemas.microsoft.com/office/drawing/2014/main" id="{86BA6CD1-A8C7-2483-A161-8DD3BBF2F8BF}"/>
              </a:ext>
            </a:extLst>
          </p:cNvPr>
          <p:cNvSpPr txBox="1"/>
          <p:nvPr/>
        </p:nvSpPr>
        <p:spPr>
          <a:xfrm>
            <a:off x="9478800" y="864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stetig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Netze BW | Design Guide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Bynder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83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67F251-A456-4C65-A7B0-861ED8EEE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003249-304F-4A77-B4A4-14E7BE611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D52479-6729-46E2-8820-15DC1FB1C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2</a:t>
            </a:fld>
            <a:endParaRPr lang="de-DE" dirty="0"/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B03F3097-3614-4345-A23D-C5E2E235AF11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mart Mobility Portal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DE5CD666-CBD0-4280-9B7A-0096FF4C224D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taru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FF4D4B4-ECDF-47A1-8638-B3760843B43E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ft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517A7767-DBDF-4B7C-B396-3F1F8FA4AD49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llarbeit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9D058F81-259E-466B-8868-9DB0883DF230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ustainable</a:t>
            </a:r>
            <a:r>
              <a:rPr lang="de-DE" sz="1000" dirty="0">
                <a:solidFill>
                  <a:schemeClr val="tx1"/>
                </a:solidFill>
              </a:rPr>
              <a:t> Finance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8A3F1943-7390-4124-AC5C-A873AF12B8E0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Umfassend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1EE81207-4466-4132-AE8C-F11629996205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Wasserkarf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C053210F-DE9B-4D2E-896D-02202E2D6CCD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egweiser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D42406A7-8DB8-4EAF-9E7D-2378FFCAA246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issen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95B37BBB-7412-488F-8DFC-761C88EC922F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ohnquartier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12C91F8-7AC8-48F1-AFE7-AC37C6F46D87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ahnrad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AA882B92-F3C6-4085-959C-08FE6E863075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iel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19E7CE0-BD9E-4593-91FA-F322B01C86F3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ibliothek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412F22EC-21C7-4A5A-8FF5-385404243F69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reitband</a:t>
            </a: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DBC0DBC9-8105-4FB1-BC71-03FCFF756F77}"/>
              </a:ext>
            </a:extLst>
          </p:cNvPr>
          <p:cNvSpPr/>
          <p:nvPr/>
        </p:nvSpPr>
        <p:spPr>
          <a:xfrm>
            <a:off x="917118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ntale Gesundheit</a:t>
            </a:r>
          </a:p>
        </p:txBody>
      </p:sp>
      <p:pic>
        <p:nvPicPr>
          <p:cNvPr id="250" name="Grafik 249">
            <a:extLst>
              <a:ext uri="{FF2B5EF4-FFF2-40B4-BE49-F238E27FC236}">
                <a16:creationId xmlns:a16="http://schemas.microsoft.com/office/drawing/2014/main" id="{AFA9FCB2-2EB2-450F-AE91-D5A2D887F8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251" name="Grafik 250">
            <a:extLst>
              <a:ext uri="{FF2B5EF4-FFF2-40B4-BE49-F238E27FC236}">
                <a16:creationId xmlns:a16="http://schemas.microsoft.com/office/drawing/2014/main" id="{5736ACE6-6238-4F31-8158-801707CBAB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252" name="Grafik 251">
            <a:extLst>
              <a:ext uri="{FF2B5EF4-FFF2-40B4-BE49-F238E27FC236}">
                <a16:creationId xmlns:a16="http://schemas.microsoft.com/office/drawing/2014/main" id="{3C6C1402-1CDA-436F-81C9-BBFF05DF15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253" name="Grafik 252">
            <a:extLst>
              <a:ext uri="{FF2B5EF4-FFF2-40B4-BE49-F238E27FC236}">
                <a16:creationId xmlns:a16="http://schemas.microsoft.com/office/drawing/2014/main" id="{E2E159A2-BA94-4AF8-BFD4-C76217A87C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254" name="Grafik 253">
            <a:extLst>
              <a:ext uri="{FF2B5EF4-FFF2-40B4-BE49-F238E27FC236}">
                <a16:creationId xmlns:a16="http://schemas.microsoft.com/office/drawing/2014/main" id="{17C11745-D11B-4DB7-995D-56B14B10AC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255" name="Grafik 254">
            <a:extLst>
              <a:ext uri="{FF2B5EF4-FFF2-40B4-BE49-F238E27FC236}">
                <a16:creationId xmlns:a16="http://schemas.microsoft.com/office/drawing/2014/main" id="{2C307BD8-F088-4AC6-981E-EE00A8C088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256" name="Grafik 255">
            <a:extLst>
              <a:ext uri="{FF2B5EF4-FFF2-40B4-BE49-F238E27FC236}">
                <a16:creationId xmlns:a16="http://schemas.microsoft.com/office/drawing/2014/main" id="{82B49859-C140-4C4C-AD2D-7CB4EE215FC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257" name="Grafik 256">
            <a:extLst>
              <a:ext uri="{FF2B5EF4-FFF2-40B4-BE49-F238E27FC236}">
                <a16:creationId xmlns:a16="http://schemas.microsoft.com/office/drawing/2014/main" id="{A661A9AD-4606-4ECD-9C86-45378CC5F6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258" name="Grafik 257">
            <a:extLst>
              <a:ext uri="{FF2B5EF4-FFF2-40B4-BE49-F238E27FC236}">
                <a16:creationId xmlns:a16="http://schemas.microsoft.com/office/drawing/2014/main" id="{44C62A8F-3903-467F-A2DA-07FB76C22CF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259" name="Grafik 258">
            <a:extLst>
              <a:ext uri="{FF2B5EF4-FFF2-40B4-BE49-F238E27FC236}">
                <a16:creationId xmlns:a16="http://schemas.microsoft.com/office/drawing/2014/main" id="{0964C9A2-3F4B-48E7-A672-703763857F6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260" name="Grafik 259">
            <a:extLst>
              <a:ext uri="{FF2B5EF4-FFF2-40B4-BE49-F238E27FC236}">
                <a16:creationId xmlns:a16="http://schemas.microsoft.com/office/drawing/2014/main" id="{5B69B13F-DFAC-4968-ABBF-178B04D6B06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261" name="Grafik 260">
            <a:extLst>
              <a:ext uri="{FF2B5EF4-FFF2-40B4-BE49-F238E27FC236}">
                <a16:creationId xmlns:a16="http://schemas.microsoft.com/office/drawing/2014/main" id="{DBA4E491-33C6-42A0-82CA-B4CF51EA13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264" name="Grafik 263">
            <a:extLst>
              <a:ext uri="{FF2B5EF4-FFF2-40B4-BE49-F238E27FC236}">
                <a16:creationId xmlns:a16="http://schemas.microsoft.com/office/drawing/2014/main" id="{D2B79EC9-C4C3-4287-8DFA-0DF316D172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265" name="Grafik 264">
            <a:extLst>
              <a:ext uri="{FF2B5EF4-FFF2-40B4-BE49-F238E27FC236}">
                <a16:creationId xmlns:a16="http://schemas.microsoft.com/office/drawing/2014/main" id="{323B4502-615F-44C3-A5A7-6F6F4E1C38C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1E48ACFF-FBB2-D05C-8886-D3D32377109E}"/>
              </a:ext>
            </a:extLst>
          </p:cNvPr>
          <p:cNvSpPr/>
          <p:nvPr/>
        </p:nvSpPr>
        <p:spPr>
          <a:xfrm>
            <a:off x="9194321" y="43631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llbo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8FDF210-196F-3E4B-5FF5-E42D1C6944A8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421822" y="3535387"/>
            <a:ext cx="698238" cy="698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76ED95E-9982-1D38-96CE-4383FA780367}"/>
              </a:ext>
            </a:extLst>
          </p:cNvPr>
          <p:cNvSpPr/>
          <p:nvPr/>
        </p:nvSpPr>
        <p:spPr>
          <a:xfrm>
            <a:off x="407449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183D2E6-584B-6C5E-1198-8C07F4014E6F}"/>
              </a:ext>
            </a:extLst>
          </p:cNvPr>
          <p:cNvSpPr/>
          <p:nvPr/>
        </p:nvSpPr>
        <p:spPr>
          <a:xfrm>
            <a:off x="1868112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om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EAEDEDE-839E-EF8E-26F4-F409ACEE5E8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34950" y="5243749"/>
            <a:ext cx="698238" cy="69823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4FA322-A25C-DDF2-2FAC-05B8F6B9DF5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095613" y="5243749"/>
            <a:ext cx="698238" cy="69823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29FF222-B6A6-47F2-1D6A-9039135F530B}"/>
              </a:ext>
            </a:extLst>
          </p:cNvPr>
          <p:cNvSpPr/>
          <p:nvPr/>
        </p:nvSpPr>
        <p:spPr>
          <a:xfrm>
            <a:off x="3328775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Zuhause lad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3E62366-5871-E0F6-3EB4-DE9449EBE39F}"/>
              </a:ext>
            </a:extLst>
          </p:cNvPr>
          <p:cNvSpPr/>
          <p:nvPr/>
        </p:nvSpPr>
        <p:spPr>
          <a:xfrm>
            <a:off x="4789438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gile Fläch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903DB8A-C15B-5545-CD6A-746A07243C09}"/>
              </a:ext>
            </a:extLst>
          </p:cNvPr>
          <p:cNvSpPr/>
          <p:nvPr/>
        </p:nvSpPr>
        <p:spPr>
          <a:xfrm>
            <a:off x="6250104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rbeitszon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16F38A2-5F3B-9EA1-9068-DB26ECC90E3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556276" y="5243749"/>
            <a:ext cx="698238" cy="69823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10DBA09-50E2-D7BD-4514-72812F7413F4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016858" y="5243749"/>
            <a:ext cx="698400" cy="6984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230B3C1-3879-F330-A38B-503011811D14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477524" y="5243749"/>
            <a:ext cx="698400" cy="698400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1CAF8A05-90F0-CE5A-5944-2C29875C62CD}"/>
              </a:ext>
            </a:extLst>
          </p:cNvPr>
          <p:cNvSpPr/>
          <p:nvPr/>
        </p:nvSpPr>
        <p:spPr>
          <a:xfrm>
            <a:off x="10656724" y="43631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sser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655F584-73C6-98F3-545E-F8189FB43A7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884225" y="3535387"/>
            <a:ext cx="698238" cy="698238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1FE7901-375C-7341-E080-A07C2FB94C2F}"/>
              </a:ext>
            </a:extLst>
          </p:cNvPr>
          <p:cNvSpPr/>
          <p:nvPr/>
        </p:nvSpPr>
        <p:spPr>
          <a:xfrm>
            <a:off x="7711300" y="6071481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tostrom Wallbox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CDD6A68B-2653-B633-51AB-000E43F8B2B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938801" y="5243749"/>
            <a:ext cx="698238" cy="6982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C8A0EA8-CCD7-5D2A-55A6-946EDB7ABBB3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397987" y="5243587"/>
            <a:ext cx="698400" cy="6984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17618DA9-3427-04F1-07A6-D5D070EC771A}"/>
              </a:ext>
            </a:extLst>
          </p:cNvPr>
          <p:cNvSpPr/>
          <p:nvPr/>
        </p:nvSpPr>
        <p:spPr>
          <a:xfrm>
            <a:off x="10630535" y="6071319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icht buchbar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2B16260-6D01-CFEF-BEA9-C58704D0EA8B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857335" y="5243587"/>
            <a:ext cx="698400" cy="69840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24B685A5-E58F-5BC8-4D3A-205D2828D43D}"/>
              </a:ext>
            </a:extLst>
          </p:cNvPr>
          <p:cNvSpPr txBox="1">
            <a:spLocks/>
          </p:cNvSpPr>
          <p:nvPr/>
        </p:nvSpPr>
        <p:spPr>
          <a:xfrm>
            <a:off x="7968209" y="403903"/>
            <a:ext cx="1440160" cy="1440160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23" name="Textfeld 7">
            <a:extLst>
              <a:ext uri="{FF2B5EF4-FFF2-40B4-BE49-F238E27FC236}">
                <a16:creationId xmlns:a16="http://schemas.microsoft.com/office/drawing/2014/main" id="{5A84A067-75EE-9E46-9CFD-1C3839DDA580}"/>
              </a:ext>
            </a:extLst>
          </p:cNvPr>
          <p:cNvSpPr txBox="1"/>
          <p:nvPr/>
        </p:nvSpPr>
        <p:spPr>
          <a:xfrm>
            <a:off x="9478800" y="864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stetig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Netze BW | Design Guide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Bynder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65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55E0D6D-6700-4864-818F-342A8E39F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3B2F17E-E6C4-4404-858C-338197E8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3</a:t>
            </a:fld>
            <a:endParaRPr lang="de-DE" dirty="0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32E6DE4-6C1E-4A39-B242-38BBEBB8DBA3}"/>
              </a:ext>
            </a:extLst>
          </p:cNvPr>
          <p:cNvSpPr/>
          <p:nvPr/>
        </p:nvSpPr>
        <p:spPr>
          <a:xfrm>
            <a:off x="3415896" y="1916832"/>
            <a:ext cx="636870" cy="636894"/>
          </a:xfrm>
          <a:custGeom>
            <a:avLst/>
            <a:gdLst>
              <a:gd name="connsiteX0" fmla="*/ 585507 w 1173790"/>
              <a:gd name="connsiteY0" fmla="*/ 341553 h 1173835"/>
              <a:gd name="connsiteX1" fmla="*/ 401592 w 1173790"/>
              <a:gd name="connsiteY1" fmla="*/ 678170 h 1173835"/>
              <a:gd name="connsiteX2" fmla="*/ 401592 w 1173790"/>
              <a:gd name="connsiteY2" fmla="*/ 736775 h 1173835"/>
              <a:gd name="connsiteX3" fmla="*/ 620975 w 1173790"/>
              <a:gd name="connsiteY3" fmla="*/ 736775 h 1173835"/>
              <a:gd name="connsiteX4" fmla="*/ 620975 w 1173790"/>
              <a:gd name="connsiteY4" fmla="*/ 832236 h 1173835"/>
              <a:gd name="connsiteX5" fmla="*/ 697144 w 1173790"/>
              <a:gd name="connsiteY5" fmla="*/ 832236 h 1173835"/>
              <a:gd name="connsiteX6" fmla="*/ 697144 w 1173790"/>
              <a:gd name="connsiteY6" fmla="*/ 736775 h 1173835"/>
              <a:gd name="connsiteX7" fmla="*/ 772266 w 1173790"/>
              <a:gd name="connsiteY7" fmla="*/ 736775 h 1173835"/>
              <a:gd name="connsiteX8" fmla="*/ 772266 w 1173790"/>
              <a:gd name="connsiteY8" fmla="*/ 664474 h 1173835"/>
              <a:gd name="connsiteX9" fmla="*/ 697144 w 1173790"/>
              <a:gd name="connsiteY9" fmla="*/ 664474 h 1173835"/>
              <a:gd name="connsiteX10" fmla="*/ 697144 w 1173790"/>
              <a:gd name="connsiteY10" fmla="*/ 532498 h 1173835"/>
              <a:gd name="connsiteX11" fmla="*/ 620975 w 1173790"/>
              <a:gd name="connsiteY11" fmla="*/ 532498 h 1173835"/>
              <a:gd name="connsiteX12" fmla="*/ 620975 w 1173790"/>
              <a:gd name="connsiteY12" fmla="*/ 664474 h 1173835"/>
              <a:gd name="connsiteX13" fmla="*/ 493208 w 1173790"/>
              <a:gd name="connsiteY13" fmla="*/ 664474 h 1173835"/>
              <a:gd name="connsiteX14" fmla="*/ 671868 w 1173790"/>
              <a:gd name="connsiteY14" fmla="*/ 341553 h 1173835"/>
              <a:gd name="connsiteX15" fmla="*/ 585507 w 1173790"/>
              <a:gd name="connsiteY15" fmla="*/ 341553 h 1173835"/>
              <a:gd name="connsiteX16" fmla="*/ 586895 w 1173790"/>
              <a:gd name="connsiteY16" fmla="*/ 0 h 1173835"/>
              <a:gd name="connsiteX17" fmla="*/ 0 w 1173790"/>
              <a:gd name="connsiteY17" fmla="*/ 586918 h 1173835"/>
              <a:gd name="connsiteX18" fmla="*/ 39131 w 1173790"/>
              <a:gd name="connsiteY18" fmla="*/ 802115 h 1173835"/>
              <a:gd name="connsiteX19" fmla="*/ 90001 w 1173790"/>
              <a:gd name="connsiteY19" fmla="*/ 825593 h 1173835"/>
              <a:gd name="connsiteX20" fmla="*/ 113480 w 1173790"/>
              <a:gd name="connsiteY20" fmla="*/ 774723 h 1173835"/>
              <a:gd name="connsiteX21" fmla="*/ 78262 w 1173790"/>
              <a:gd name="connsiteY21" fmla="*/ 586918 h 1173835"/>
              <a:gd name="connsiteX22" fmla="*/ 586895 w 1173790"/>
              <a:gd name="connsiteY22" fmla="*/ 78262 h 1173835"/>
              <a:gd name="connsiteX23" fmla="*/ 1095528 w 1173790"/>
              <a:gd name="connsiteY23" fmla="*/ 586918 h 1173835"/>
              <a:gd name="connsiteX24" fmla="*/ 586895 w 1173790"/>
              <a:gd name="connsiteY24" fmla="*/ 1095573 h 1173835"/>
              <a:gd name="connsiteX25" fmla="*/ 219110 w 1173790"/>
              <a:gd name="connsiteY25" fmla="*/ 939073 h 1173835"/>
              <a:gd name="connsiteX26" fmla="*/ 164327 w 1173790"/>
              <a:gd name="connsiteY26" fmla="*/ 939073 h 1173835"/>
              <a:gd name="connsiteX27" fmla="*/ 164327 w 1173790"/>
              <a:gd name="connsiteY27" fmla="*/ 993856 h 1173835"/>
              <a:gd name="connsiteX28" fmla="*/ 586895 w 1173790"/>
              <a:gd name="connsiteY28" fmla="*/ 1173835 h 1173835"/>
              <a:gd name="connsiteX29" fmla="*/ 1173790 w 1173790"/>
              <a:gd name="connsiteY29" fmla="*/ 586918 h 1173835"/>
              <a:gd name="connsiteX30" fmla="*/ 586895 w 1173790"/>
              <a:gd name="connsiteY30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3790" h="1173835">
                <a:moveTo>
                  <a:pt x="585507" y="341553"/>
                </a:moveTo>
                <a:lnTo>
                  <a:pt x="401592" y="678170"/>
                </a:lnTo>
                <a:lnTo>
                  <a:pt x="401592" y="736775"/>
                </a:lnTo>
                <a:lnTo>
                  <a:pt x="620975" y="736775"/>
                </a:lnTo>
                <a:lnTo>
                  <a:pt x="620975" y="832236"/>
                </a:lnTo>
                <a:lnTo>
                  <a:pt x="697144" y="832236"/>
                </a:lnTo>
                <a:lnTo>
                  <a:pt x="697144" y="736775"/>
                </a:lnTo>
                <a:lnTo>
                  <a:pt x="772266" y="736775"/>
                </a:lnTo>
                <a:lnTo>
                  <a:pt x="772266" y="664474"/>
                </a:lnTo>
                <a:lnTo>
                  <a:pt x="697144" y="664474"/>
                </a:lnTo>
                <a:lnTo>
                  <a:pt x="697144" y="532498"/>
                </a:lnTo>
                <a:lnTo>
                  <a:pt x="620975" y="532498"/>
                </a:lnTo>
                <a:lnTo>
                  <a:pt x="620975" y="664474"/>
                </a:lnTo>
                <a:lnTo>
                  <a:pt x="493208" y="664474"/>
                </a:lnTo>
                <a:lnTo>
                  <a:pt x="671868" y="341553"/>
                </a:lnTo>
                <a:lnTo>
                  <a:pt x="585507" y="341553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9129DE3C-9607-412C-97C7-7CAF55F92455}"/>
              </a:ext>
            </a:extLst>
          </p:cNvPr>
          <p:cNvSpPr/>
          <p:nvPr/>
        </p:nvSpPr>
        <p:spPr>
          <a:xfrm>
            <a:off x="5414121" y="1916832"/>
            <a:ext cx="636869" cy="636894"/>
          </a:xfrm>
          <a:custGeom>
            <a:avLst/>
            <a:gdLst>
              <a:gd name="connsiteX0" fmla="*/ 594266 w 1173789"/>
              <a:gd name="connsiteY0" fmla="*/ 337003 h 1173835"/>
              <a:gd name="connsiteX1" fmla="*/ 452826 w 1173789"/>
              <a:gd name="connsiteY1" fmla="*/ 549698 h 1173835"/>
              <a:gd name="connsiteX2" fmla="*/ 408599 w 1173789"/>
              <a:gd name="connsiteY2" fmla="*/ 673597 h 1173835"/>
              <a:gd name="connsiteX3" fmla="*/ 586895 w 1173789"/>
              <a:gd name="connsiteY3" fmla="*/ 836809 h 1173835"/>
              <a:gd name="connsiteX4" fmla="*/ 765191 w 1173789"/>
              <a:gd name="connsiteY4" fmla="*/ 673597 h 1173835"/>
              <a:gd name="connsiteX5" fmla="*/ 600227 w 1173789"/>
              <a:gd name="connsiteY5" fmla="*/ 510385 h 1173835"/>
              <a:gd name="connsiteX6" fmla="*/ 562324 w 1173789"/>
              <a:gd name="connsiteY6" fmla="*/ 515299 h 1173835"/>
              <a:gd name="connsiteX7" fmla="*/ 687270 w 1173789"/>
              <a:gd name="connsiteY7" fmla="*/ 337003 h 1173835"/>
              <a:gd name="connsiteX8" fmla="*/ 594266 w 1173789"/>
              <a:gd name="connsiteY8" fmla="*/ 337003 h 1173835"/>
              <a:gd name="connsiteX9" fmla="*/ 586895 w 1173789"/>
              <a:gd name="connsiteY9" fmla="*/ 580934 h 1173835"/>
              <a:gd name="connsiteX10" fmla="*/ 686588 w 1173789"/>
              <a:gd name="connsiteY10" fmla="*/ 673597 h 1173835"/>
              <a:gd name="connsiteX11" fmla="*/ 586895 w 1173789"/>
              <a:gd name="connsiteY11" fmla="*/ 766260 h 1173835"/>
              <a:gd name="connsiteX12" fmla="*/ 487202 w 1173789"/>
              <a:gd name="connsiteY12" fmla="*/ 673597 h 1173835"/>
              <a:gd name="connsiteX13" fmla="*/ 586895 w 1173789"/>
              <a:gd name="connsiteY13" fmla="*/ 580934 h 1173835"/>
              <a:gd name="connsiteX14" fmla="*/ 586895 w 1173789"/>
              <a:gd name="connsiteY14" fmla="*/ 0 h 1173835"/>
              <a:gd name="connsiteX15" fmla="*/ 0 w 1173789"/>
              <a:gd name="connsiteY15" fmla="*/ 586918 h 1173835"/>
              <a:gd name="connsiteX16" fmla="*/ 39131 w 1173789"/>
              <a:gd name="connsiteY16" fmla="*/ 802115 h 1173835"/>
              <a:gd name="connsiteX17" fmla="*/ 90001 w 1173789"/>
              <a:gd name="connsiteY17" fmla="*/ 825593 h 1173835"/>
              <a:gd name="connsiteX18" fmla="*/ 113480 w 1173789"/>
              <a:gd name="connsiteY18" fmla="*/ 774723 h 1173835"/>
              <a:gd name="connsiteX19" fmla="*/ 78262 w 1173789"/>
              <a:gd name="connsiteY19" fmla="*/ 586918 h 1173835"/>
              <a:gd name="connsiteX20" fmla="*/ 586895 w 1173789"/>
              <a:gd name="connsiteY20" fmla="*/ 78262 h 1173835"/>
              <a:gd name="connsiteX21" fmla="*/ 1095528 w 1173789"/>
              <a:gd name="connsiteY21" fmla="*/ 586918 h 1173835"/>
              <a:gd name="connsiteX22" fmla="*/ 586895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5 w 1173789"/>
              <a:gd name="connsiteY26" fmla="*/ 1173835 h 1173835"/>
              <a:gd name="connsiteX27" fmla="*/ 1173790 w 1173789"/>
              <a:gd name="connsiteY27" fmla="*/ 586918 h 1173835"/>
              <a:gd name="connsiteX28" fmla="*/ 586895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94266" y="337003"/>
                </a:moveTo>
                <a:lnTo>
                  <a:pt x="452826" y="549698"/>
                </a:lnTo>
                <a:cubicBezTo>
                  <a:pt x="424047" y="592514"/>
                  <a:pt x="408599" y="630417"/>
                  <a:pt x="408599" y="673597"/>
                </a:cubicBezTo>
                <a:cubicBezTo>
                  <a:pt x="408599" y="766965"/>
                  <a:pt x="485109" y="836809"/>
                  <a:pt x="586895" y="836809"/>
                </a:cubicBezTo>
                <a:cubicBezTo>
                  <a:pt x="689045" y="836809"/>
                  <a:pt x="765191" y="766965"/>
                  <a:pt x="765191" y="673597"/>
                </a:cubicBezTo>
                <a:cubicBezTo>
                  <a:pt x="765191" y="580229"/>
                  <a:pt x="690069" y="510385"/>
                  <a:pt x="600227" y="510385"/>
                </a:cubicBezTo>
                <a:cubicBezTo>
                  <a:pt x="583733" y="510385"/>
                  <a:pt x="571447" y="512842"/>
                  <a:pt x="562324" y="515299"/>
                </a:cubicBezTo>
                <a:lnTo>
                  <a:pt x="687270" y="337003"/>
                </a:lnTo>
                <a:lnTo>
                  <a:pt x="594266" y="337003"/>
                </a:lnTo>
                <a:close/>
                <a:moveTo>
                  <a:pt x="586895" y="580934"/>
                </a:moveTo>
                <a:cubicBezTo>
                  <a:pt x="643748" y="580934"/>
                  <a:pt x="686588" y="618837"/>
                  <a:pt x="686588" y="673597"/>
                </a:cubicBezTo>
                <a:cubicBezTo>
                  <a:pt x="686588" y="728357"/>
                  <a:pt x="643771" y="766260"/>
                  <a:pt x="586895" y="766260"/>
                </a:cubicBezTo>
                <a:cubicBezTo>
                  <a:pt x="530383" y="766260"/>
                  <a:pt x="487202" y="728699"/>
                  <a:pt x="487202" y="673597"/>
                </a:cubicBezTo>
                <a:cubicBezTo>
                  <a:pt x="487202" y="618859"/>
                  <a:pt x="530383" y="580934"/>
                  <a:pt x="586895" y="580934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0E8BE1B3-021B-42D3-8E84-F7E98348DF49}"/>
              </a:ext>
            </a:extLst>
          </p:cNvPr>
          <p:cNvSpPr/>
          <p:nvPr/>
        </p:nvSpPr>
        <p:spPr>
          <a:xfrm>
            <a:off x="4415009" y="1916832"/>
            <a:ext cx="636869" cy="636894"/>
          </a:xfrm>
          <a:custGeom>
            <a:avLst/>
            <a:gdLst>
              <a:gd name="connsiteX0" fmla="*/ 585826 w 1173789"/>
              <a:gd name="connsiteY0" fmla="*/ 764326 h 1173835"/>
              <a:gd name="connsiteX1" fmla="*/ 465794 w 1173789"/>
              <a:gd name="connsiteY1" fmla="*/ 708860 h 1173835"/>
              <a:gd name="connsiteX2" fmla="*/ 415242 w 1173789"/>
              <a:gd name="connsiteY2" fmla="*/ 758343 h 1173835"/>
              <a:gd name="connsiteX3" fmla="*/ 586167 w 1173789"/>
              <a:gd name="connsiteY3" fmla="*/ 836968 h 1173835"/>
              <a:gd name="connsiteX4" fmla="*/ 758502 w 1173789"/>
              <a:gd name="connsiteY4" fmla="*/ 674803 h 1173835"/>
              <a:gd name="connsiteX5" fmla="*/ 590012 w 1173789"/>
              <a:gd name="connsiteY5" fmla="*/ 527379 h 1173835"/>
              <a:gd name="connsiteX6" fmla="*/ 525423 w 1173789"/>
              <a:gd name="connsiteY6" fmla="*/ 527379 h 1173835"/>
              <a:gd name="connsiteX7" fmla="*/ 527880 w 1173789"/>
              <a:gd name="connsiteY7" fmla="*/ 408736 h 1173835"/>
              <a:gd name="connsiteX8" fmla="*/ 733204 w 1173789"/>
              <a:gd name="connsiteY8" fmla="*/ 408736 h 1173835"/>
              <a:gd name="connsiteX9" fmla="*/ 733204 w 1173789"/>
              <a:gd name="connsiteY9" fmla="*/ 336776 h 1173835"/>
              <a:gd name="connsiteX10" fmla="*/ 458059 w 1173789"/>
              <a:gd name="connsiteY10" fmla="*/ 336776 h 1173835"/>
              <a:gd name="connsiteX11" fmla="*/ 453486 w 1173789"/>
              <a:gd name="connsiteY11" fmla="*/ 599317 h 1173835"/>
              <a:gd name="connsiteX12" fmla="*/ 566511 w 1173789"/>
              <a:gd name="connsiteY12" fmla="*/ 599317 h 1173835"/>
              <a:gd name="connsiteX13" fmla="*/ 679171 w 1173789"/>
              <a:gd name="connsiteY13" fmla="*/ 681446 h 1173835"/>
              <a:gd name="connsiteX14" fmla="*/ 585826 w 1173789"/>
              <a:gd name="connsiteY14" fmla="*/ 764326 h 1173835"/>
              <a:gd name="connsiteX15" fmla="*/ 586895 w 1173789"/>
              <a:gd name="connsiteY15" fmla="*/ 0 h 1173835"/>
              <a:gd name="connsiteX16" fmla="*/ 0 w 1173789"/>
              <a:gd name="connsiteY16" fmla="*/ 586918 h 1173835"/>
              <a:gd name="connsiteX17" fmla="*/ 39131 w 1173789"/>
              <a:gd name="connsiteY17" fmla="*/ 802115 h 1173835"/>
              <a:gd name="connsiteX18" fmla="*/ 90001 w 1173789"/>
              <a:gd name="connsiteY18" fmla="*/ 825593 h 1173835"/>
              <a:gd name="connsiteX19" fmla="*/ 113480 w 1173789"/>
              <a:gd name="connsiteY19" fmla="*/ 774723 h 1173835"/>
              <a:gd name="connsiteX20" fmla="*/ 78262 w 1173789"/>
              <a:gd name="connsiteY20" fmla="*/ 586918 h 1173835"/>
              <a:gd name="connsiteX21" fmla="*/ 586895 w 1173789"/>
              <a:gd name="connsiteY21" fmla="*/ 78262 h 1173835"/>
              <a:gd name="connsiteX22" fmla="*/ 1095528 w 1173789"/>
              <a:gd name="connsiteY22" fmla="*/ 586918 h 1173835"/>
              <a:gd name="connsiteX23" fmla="*/ 586895 w 1173789"/>
              <a:gd name="connsiteY23" fmla="*/ 1095573 h 1173835"/>
              <a:gd name="connsiteX24" fmla="*/ 219110 w 1173789"/>
              <a:gd name="connsiteY24" fmla="*/ 939073 h 1173835"/>
              <a:gd name="connsiteX25" fmla="*/ 164327 w 1173789"/>
              <a:gd name="connsiteY25" fmla="*/ 939073 h 1173835"/>
              <a:gd name="connsiteX26" fmla="*/ 164327 w 1173789"/>
              <a:gd name="connsiteY26" fmla="*/ 993856 h 1173835"/>
              <a:gd name="connsiteX27" fmla="*/ 586895 w 1173789"/>
              <a:gd name="connsiteY27" fmla="*/ 1173835 h 1173835"/>
              <a:gd name="connsiteX28" fmla="*/ 1173790 w 1173789"/>
              <a:gd name="connsiteY28" fmla="*/ 586918 h 1173835"/>
              <a:gd name="connsiteX29" fmla="*/ 586895 w 1173789"/>
              <a:gd name="connsiteY29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173789" h="1173835">
                <a:moveTo>
                  <a:pt x="585826" y="764326"/>
                </a:moveTo>
                <a:cubicBezTo>
                  <a:pt x="541963" y="764326"/>
                  <a:pt x="494915" y="743259"/>
                  <a:pt x="465794" y="708860"/>
                </a:cubicBezTo>
                <a:lnTo>
                  <a:pt x="415242" y="758343"/>
                </a:lnTo>
                <a:cubicBezTo>
                  <a:pt x="457354" y="810282"/>
                  <a:pt x="514935" y="836968"/>
                  <a:pt x="586167" y="836968"/>
                </a:cubicBezTo>
                <a:cubicBezTo>
                  <a:pt x="678125" y="836968"/>
                  <a:pt x="758502" y="781161"/>
                  <a:pt x="758502" y="674803"/>
                </a:cubicBezTo>
                <a:cubicBezTo>
                  <a:pt x="758502" y="597929"/>
                  <a:pt x="705152" y="527379"/>
                  <a:pt x="590012" y="527379"/>
                </a:cubicBezTo>
                <a:lnTo>
                  <a:pt x="525423" y="527379"/>
                </a:lnTo>
                <a:lnTo>
                  <a:pt x="527880" y="408736"/>
                </a:lnTo>
                <a:lnTo>
                  <a:pt x="733204" y="408736"/>
                </a:lnTo>
                <a:lnTo>
                  <a:pt x="733204" y="336776"/>
                </a:lnTo>
                <a:lnTo>
                  <a:pt x="458059" y="336776"/>
                </a:lnTo>
                <a:lnTo>
                  <a:pt x="453486" y="599317"/>
                </a:lnTo>
                <a:lnTo>
                  <a:pt x="566511" y="599317"/>
                </a:lnTo>
                <a:cubicBezTo>
                  <a:pt x="654259" y="599317"/>
                  <a:pt x="679171" y="638971"/>
                  <a:pt x="679171" y="681446"/>
                </a:cubicBezTo>
                <a:cubicBezTo>
                  <a:pt x="679194" y="723625"/>
                  <a:pt x="649368" y="764326"/>
                  <a:pt x="585826" y="764326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2F8C3E32-5E5A-4572-874F-82847D2F481D}"/>
              </a:ext>
            </a:extLst>
          </p:cNvPr>
          <p:cNvSpPr/>
          <p:nvPr/>
        </p:nvSpPr>
        <p:spPr>
          <a:xfrm>
            <a:off x="418571" y="1916832"/>
            <a:ext cx="636869" cy="636894"/>
          </a:xfrm>
          <a:custGeom>
            <a:avLst/>
            <a:gdLst>
              <a:gd name="connsiteX0" fmla="*/ 687452 w 1173789"/>
              <a:gd name="connsiteY0" fmla="*/ 836468 h 1173835"/>
              <a:gd name="connsiteX1" fmla="*/ 687452 w 1173789"/>
              <a:gd name="connsiteY1" fmla="*/ 337344 h 1173835"/>
              <a:gd name="connsiteX2" fmla="*/ 486338 w 1173789"/>
              <a:gd name="connsiteY2" fmla="*/ 422295 h 1173835"/>
              <a:gd name="connsiteX3" fmla="*/ 486338 w 1173789"/>
              <a:gd name="connsiteY3" fmla="*/ 501626 h 1173835"/>
              <a:gd name="connsiteX4" fmla="*/ 611284 w 1173789"/>
              <a:gd name="connsiteY4" fmla="*/ 447935 h 1173835"/>
              <a:gd name="connsiteX5" fmla="*/ 611284 w 1173789"/>
              <a:gd name="connsiteY5" fmla="*/ 836491 h 1173835"/>
              <a:gd name="connsiteX6" fmla="*/ 687452 w 1173789"/>
              <a:gd name="connsiteY6" fmla="*/ 836491 h 1173835"/>
              <a:gd name="connsiteX7" fmla="*/ 586895 w 1173789"/>
              <a:gd name="connsiteY7" fmla="*/ 0 h 1173835"/>
              <a:gd name="connsiteX8" fmla="*/ 0 w 1173789"/>
              <a:gd name="connsiteY8" fmla="*/ 586918 h 1173835"/>
              <a:gd name="connsiteX9" fmla="*/ 39131 w 1173789"/>
              <a:gd name="connsiteY9" fmla="*/ 802115 h 1173835"/>
              <a:gd name="connsiteX10" fmla="*/ 90001 w 1173789"/>
              <a:gd name="connsiteY10" fmla="*/ 825593 h 1173835"/>
              <a:gd name="connsiteX11" fmla="*/ 113480 w 1173789"/>
              <a:gd name="connsiteY11" fmla="*/ 774723 h 1173835"/>
              <a:gd name="connsiteX12" fmla="*/ 78262 w 1173789"/>
              <a:gd name="connsiteY12" fmla="*/ 586918 h 1173835"/>
              <a:gd name="connsiteX13" fmla="*/ 586895 w 1173789"/>
              <a:gd name="connsiteY13" fmla="*/ 78262 h 1173835"/>
              <a:gd name="connsiteX14" fmla="*/ 1095528 w 1173789"/>
              <a:gd name="connsiteY14" fmla="*/ 586918 h 1173835"/>
              <a:gd name="connsiteX15" fmla="*/ 586895 w 1173789"/>
              <a:gd name="connsiteY15" fmla="*/ 1095573 h 1173835"/>
              <a:gd name="connsiteX16" fmla="*/ 219110 w 1173789"/>
              <a:gd name="connsiteY16" fmla="*/ 939073 h 1173835"/>
              <a:gd name="connsiteX17" fmla="*/ 164327 w 1173789"/>
              <a:gd name="connsiteY17" fmla="*/ 939073 h 1173835"/>
              <a:gd name="connsiteX18" fmla="*/ 164327 w 1173789"/>
              <a:gd name="connsiteY18" fmla="*/ 993856 h 1173835"/>
              <a:gd name="connsiteX19" fmla="*/ 586895 w 1173789"/>
              <a:gd name="connsiteY19" fmla="*/ 1173835 h 1173835"/>
              <a:gd name="connsiteX20" fmla="*/ 1173790 w 1173789"/>
              <a:gd name="connsiteY20" fmla="*/ 586918 h 1173835"/>
              <a:gd name="connsiteX21" fmla="*/ 586895 w 1173789"/>
              <a:gd name="connsiteY21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3789" h="1173835">
                <a:moveTo>
                  <a:pt x="687452" y="836468"/>
                </a:moveTo>
                <a:lnTo>
                  <a:pt x="687452" y="337344"/>
                </a:lnTo>
                <a:lnTo>
                  <a:pt x="486338" y="422295"/>
                </a:lnTo>
                <a:lnTo>
                  <a:pt x="486338" y="501626"/>
                </a:lnTo>
                <a:lnTo>
                  <a:pt x="611284" y="447935"/>
                </a:lnTo>
                <a:lnTo>
                  <a:pt x="611284" y="836491"/>
                </a:lnTo>
                <a:lnTo>
                  <a:pt x="687452" y="836491"/>
                </a:lnTo>
                <a:close/>
                <a:moveTo>
                  <a:pt x="586895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1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2A08A9FE-B5CA-4002-A1AD-819FC502B13E}"/>
              </a:ext>
            </a:extLst>
          </p:cNvPr>
          <p:cNvSpPr/>
          <p:nvPr/>
        </p:nvSpPr>
        <p:spPr>
          <a:xfrm>
            <a:off x="2416783" y="1916832"/>
            <a:ext cx="636870" cy="636894"/>
          </a:xfrm>
          <a:custGeom>
            <a:avLst/>
            <a:gdLst>
              <a:gd name="connsiteX0" fmla="*/ 582868 w 1173790"/>
              <a:gd name="connsiteY0" fmla="*/ 770127 h 1173835"/>
              <a:gd name="connsiteX1" fmla="*/ 464224 w 1173790"/>
              <a:gd name="connsiteY1" fmla="*/ 719940 h 1173835"/>
              <a:gd name="connsiteX2" fmla="*/ 415425 w 1173790"/>
              <a:gd name="connsiteY2" fmla="*/ 770833 h 1173835"/>
              <a:gd name="connsiteX3" fmla="*/ 584597 w 1173790"/>
              <a:gd name="connsiteY3" fmla="*/ 841041 h 1173835"/>
              <a:gd name="connsiteX4" fmla="*/ 758343 w 1173790"/>
              <a:gd name="connsiteY4" fmla="*/ 698896 h 1173835"/>
              <a:gd name="connsiteX5" fmla="*/ 672346 w 1173790"/>
              <a:gd name="connsiteY5" fmla="*/ 584824 h 1173835"/>
              <a:gd name="connsiteX6" fmla="*/ 747104 w 1173790"/>
              <a:gd name="connsiteY6" fmla="*/ 473210 h 1173835"/>
              <a:gd name="connsiteX7" fmla="*/ 580025 w 1173790"/>
              <a:gd name="connsiteY7" fmla="*/ 332817 h 1173835"/>
              <a:gd name="connsiteX8" fmla="*/ 421021 w 1173790"/>
              <a:gd name="connsiteY8" fmla="*/ 410032 h 1173835"/>
              <a:gd name="connsiteX9" fmla="*/ 475782 w 1173790"/>
              <a:gd name="connsiteY9" fmla="*/ 456716 h 1173835"/>
              <a:gd name="connsiteX10" fmla="*/ 575110 w 1173790"/>
              <a:gd name="connsiteY10" fmla="*/ 403708 h 1173835"/>
              <a:gd name="connsiteX11" fmla="*/ 667773 w 1173790"/>
              <a:gd name="connsiteY11" fmla="*/ 477055 h 1173835"/>
              <a:gd name="connsiteX12" fmla="*/ 571948 w 1173790"/>
              <a:gd name="connsiteY12" fmla="*/ 550062 h 1173835"/>
              <a:gd name="connsiteX13" fmla="*/ 512979 w 1173790"/>
              <a:gd name="connsiteY13" fmla="*/ 550062 h 1173835"/>
              <a:gd name="connsiteX14" fmla="*/ 512979 w 1173790"/>
              <a:gd name="connsiteY14" fmla="*/ 619906 h 1173835"/>
              <a:gd name="connsiteX15" fmla="*/ 572289 w 1173790"/>
              <a:gd name="connsiteY15" fmla="*/ 619906 h 1173835"/>
              <a:gd name="connsiteX16" fmla="*/ 678648 w 1173790"/>
              <a:gd name="connsiteY16" fmla="*/ 695369 h 1173835"/>
              <a:gd name="connsiteX17" fmla="*/ 582868 w 1173790"/>
              <a:gd name="connsiteY17" fmla="*/ 770127 h 1173835"/>
              <a:gd name="connsiteX18" fmla="*/ 586895 w 1173790"/>
              <a:gd name="connsiteY18" fmla="*/ 0 h 1173835"/>
              <a:gd name="connsiteX19" fmla="*/ 0 w 1173790"/>
              <a:gd name="connsiteY19" fmla="*/ 586918 h 1173835"/>
              <a:gd name="connsiteX20" fmla="*/ 39131 w 1173790"/>
              <a:gd name="connsiteY20" fmla="*/ 802115 h 1173835"/>
              <a:gd name="connsiteX21" fmla="*/ 90001 w 1173790"/>
              <a:gd name="connsiteY21" fmla="*/ 825593 h 1173835"/>
              <a:gd name="connsiteX22" fmla="*/ 113480 w 1173790"/>
              <a:gd name="connsiteY22" fmla="*/ 774723 h 1173835"/>
              <a:gd name="connsiteX23" fmla="*/ 78262 w 1173790"/>
              <a:gd name="connsiteY23" fmla="*/ 586918 h 1173835"/>
              <a:gd name="connsiteX24" fmla="*/ 586895 w 1173790"/>
              <a:gd name="connsiteY24" fmla="*/ 78262 h 1173835"/>
              <a:gd name="connsiteX25" fmla="*/ 1095528 w 1173790"/>
              <a:gd name="connsiteY25" fmla="*/ 586918 h 1173835"/>
              <a:gd name="connsiteX26" fmla="*/ 586895 w 1173790"/>
              <a:gd name="connsiteY26" fmla="*/ 1095573 h 1173835"/>
              <a:gd name="connsiteX27" fmla="*/ 219110 w 1173790"/>
              <a:gd name="connsiteY27" fmla="*/ 939073 h 1173835"/>
              <a:gd name="connsiteX28" fmla="*/ 164327 w 1173790"/>
              <a:gd name="connsiteY28" fmla="*/ 939073 h 1173835"/>
              <a:gd name="connsiteX29" fmla="*/ 164327 w 1173790"/>
              <a:gd name="connsiteY29" fmla="*/ 993856 h 1173835"/>
              <a:gd name="connsiteX30" fmla="*/ 586895 w 1173790"/>
              <a:gd name="connsiteY30" fmla="*/ 1173835 h 1173835"/>
              <a:gd name="connsiteX31" fmla="*/ 1173790 w 1173790"/>
              <a:gd name="connsiteY31" fmla="*/ 586918 h 1173835"/>
              <a:gd name="connsiteX32" fmla="*/ 586895 w 1173790"/>
              <a:gd name="connsiteY3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73790" h="1173835">
                <a:moveTo>
                  <a:pt x="582868" y="770127"/>
                </a:moveTo>
                <a:cubicBezTo>
                  <a:pt x="538300" y="770127"/>
                  <a:pt x="493368" y="751517"/>
                  <a:pt x="464224" y="719940"/>
                </a:cubicBezTo>
                <a:lnTo>
                  <a:pt x="415425" y="770833"/>
                </a:lnTo>
                <a:cubicBezTo>
                  <a:pt x="451575" y="815060"/>
                  <a:pt x="511591" y="841041"/>
                  <a:pt x="584597" y="841041"/>
                </a:cubicBezTo>
                <a:cubicBezTo>
                  <a:pt x="673757" y="841041"/>
                  <a:pt x="758343" y="794698"/>
                  <a:pt x="758343" y="698896"/>
                </a:cubicBezTo>
                <a:cubicBezTo>
                  <a:pt x="758343" y="645182"/>
                  <a:pt x="723944" y="605186"/>
                  <a:pt x="672346" y="584824"/>
                </a:cubicBezTo>
                <a:cubicBezTo>
                  <a:pt x="717620" y="563758"/>
                  <a:pt x="747104" y="525514"/>
                  <a:pt x="747104" y="473210"/>
                </a:cubicBezTo>
                <a:cubicBezTo>
                  <a:pt x="747104" y="388624"/>
                  <a:pt x="680058" y="332817"/>
                  <a:pt x="580025" y="332817"/>
                </a:cubicBezTo>
                <a:cubicBezTo>
                  <a:pt x="502809" y="332817"/>
                  <a:pt x="449095" y="366169"/>
                  <a:pt x="421021" y="410032"/>
                </a:cubicBezTo>
                <a:lnTo>
                  <a:pt x="475782" y="456716"/>
                </a:lnTo>
                <a:cubicBezTo>
                  <a:pt x="494733" y="429348"/>
                  <a:pt x="529132" y="403708"/>
                  <a:pt x="575110" y="403708"/>
                </a:cubicBezTo>
                <a:cubicBezTo>
                  <a:pt x="626003" y="403708"/>
                  <a:pt x="667773" y="430030"/>
                  <a:pt x="667773" y="477055"/>
                </a:cubicBezTo>
                <a:cubicBezTo>
                  <a:pt x="667773" y="526196"/>
                  <a:pt x="624957" y="550062"/>
                  <a:pt x="571948" y="550062"/>
                </a:cubicBezTo>
                <a:lnTo>
                  <a:pt x="512979" y="550062"/>
                </a:lnTo>
                <a:lnTo>
                  <a:pt x="512979" y="619906"/>
                </a:lnTo>
                <a:lnTo>
                  <a:pt x="572289" y="619906"/>
                </a:lnTo>
                <a:cubicBezTo>
                  <a:pt x="630895" y="619906"/>
                  <a:pt x="678648" y="645887"/>
                  <a:pt x="678648" y="695369"/>
                </a:cubicBezTo>
                <a:cubicBezTo>
                  <a:pt x="678693" y="745898"/>
                  <a:pt x="636582" y="770127"/>
                  <a:pt x="582868" y="770127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9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59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8B87EBBB-0F9C-4F3F-81BC-204E3212A1A2}"/>
              </a:ext>
            </a:extLst>
          </p:cNvPr>
          <p:cNvSpPr/>
          <p:nvPr/>
        </p:nvSpPr>
        <p:spPr>
          <a:xfrm>
            <a:off x="1417683" y="1916832"/>
            <a:ext cx="636857" cy="636882"/>
          </a:xfrm>
          <a:custGeom>
            <a:avLst/>
            <a:gdLst>
              <a:gd name="connsiteX0" fmla="*/ 740097 w 1173767"/>
              <a:gd name="connsiteY0" fmla="*/ 494937 h 1173812"/>
              <a:gd name="connsiteX1" fmla="*/ 577226 w 1173767"/>
              <a:gd name="connsiteY1" fmla="*/ 336980 h 1173812"/>
              <a:gd name="connsiteX2" fmla="*/ 420338 w 1173767"/>
              <a:gd name="connsiteY2" fmla="*/ 419110 h 1173812"/>
              <a:gd name="connsiteX3" fmla="*/ 474735 w 1173767"/>
              <a:gd name="connsiteY3" fmla="*/ 464042 h 1173812"/>
              <a:gd name="connsiteX4" fmla="*/ 575110 w 1173767"/>
              <a:gd name="connsiteY4" fmla="*/ 409646 h 1173812"/>
              <a:gd name="connsiteX5" fmla="*/ 660402 w 1173767"/>
              <a:gd name="connsiteY5" fmla="*/ 494596 h 1173812"/>
              <a:gd name="connsiteX6" fmla="*/ 616539 w 1173767"/>
              <a:gd name="connsiteY6" fmla="*/ 588305 h 1173812"/>
              <a:gd name="connsiteX7" fmla="*/ 438926 w 1173767"/>
              <a:gd name="connsiteY7" fmla="*/ 777134 h 1173812"/>
              <a:gd name="connsiteX8" fmla="*/ 438926 w 1173767"/>
              <a:gd name="connsiteY8" fmla="*/ 836809 h 1173812"/>
              <a:gd name="connsiteX9" fmla="*/ 753429 w 1173767"/>
              <a:gd name="connsiteY9" fmla="*/ 836809 h 1173812"/>
              <a:gd name="connsiteX10" fmla="*/ 753429 w 1173767"/>
              <a:gd name="connsiteY10" fmla="*/ 764508 h 1173812"/>
              <a:gd name="connsiteX11" fmla="*/ 551609 w 1173767"/>
              <a:gd name="connsiteY11" fmla="*/ 764508 h 1173812"/>
              <a:gd name="connsiteX12" fmla="*/ 674803 w 1173767"/>
              <a:gd name="connsiteY12" fmla="*/ 632532 h 1173812"/>
              <a:gd name="connsiteX13" fmla="*/ 740097 w 1173767"/>
              <a:gd name="connsiteY13" fmla="*/ 494937 h 1173812"/>
              <a:gd name="connsiteX14" fmla="*/ 586872 w 1173767"/>
              <a:gd name="connsiteY14" fmla="*/ 0 h 1173812"/>
              <a:gd name="connsiteX15" fmla="*/ 0 w 1173767"/>
              <a:gd name="connsiteY15" fmla="*/ 586918 h 1173812"/>
              <a:gd name="connsiteX16" fmla="*/ 39131 w 1173767"/>
              <a:gd name="connsiteY16" fmla="*/ 802115 h 1173812"/>
              <a:gd name="connsiteX17" fmla="*/ 90001 w 1173767"/>
              <a:gd name="connsiteY17" fmla="*/ 825593 h 1173812"/>
              <a:gd name="connsiteX18" fmla="*/ 113479 w 1173767"/>
              <a:gd name="connsiteY18" fmla="*/ 774723 h 1173812"/>
              <a:gd name="connsiteX19" fmla="*/ 78262 w 1173767"/>
              <a:gd name="connsiteY19" fmla="*/ 586918 h 1173812"/>
              <a:gd name="connsiteX20" fmla="*/ 586895 w 1173767"/>
              <a:gd name="connsiteY20" fmla="*/ 78262 h 1173812"/>
              <a:gd name="connsiteX21" fmla="*/ 1095528 w 1173767"/>
              <a:gd name="connsiteY21" fmla="*/ 586918 h 1173812"/>
              <a:gd name="connsiteX22" fmla="*/ 586872 w 1173767"/>
              <a:gd name="connsiteY22" fmla="*/ 1095551 h 1173812"/>
              <a:gd name="connsiteX23" fmla="*/ 219087 w 1173767"/>
              <a:gd name="connsiteY23" fmla="*/ 939050 h 1173812"/>
              <a:gd name="connsiteX24" fmla="*/ 164304 w 1173767"/>
              <a:gd name="connsiteY24" fmla="*/ 939050 h 1173812"/>
              <a:gd name="connsiteX25" fmla="*/ 164304 w 1173767"/>
              <a:gd name="connsiteY25" fmla="*/ 993833 h 1173812"/>
              <a:gd name="connsiteX26" fmla="*/ 586872 w 1173767"/>
              <a:gd name="connsiteY26" fmla="*/ 1173812 h 1173812"/>
              <a:gd name="connsiteX27" fmla="*/ 1173767 w 1173767"/>
              <a:gd name="connsiteY27" fmla="*/ 586895 h 1173812"/>
              <a:gd name="connsiteX28" fmla="*/ 586872 w 1173767"/>
              <a:gd name="connsiteY28" fmla="*/ 0 h 1173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67" h="1173812">
                <a:moveTo>
                  <a:pt x="740097" y="494937"/>
                </a:moveTo>
                <a:cubicBezTo>
                  <a:pt x="740097" y="402616"/>
                  <a:pt x="679012" y="336980"/>
                  <a:pt x="577226" y="336980"/>
                </a:cubicBezTo>
                <a:cubicBezTo>
                  <a:pt x="488431" y="336980"/>
                  <a:pt x="443840" y="387168"/>
                  <a:pt x="420338" y="419110"/>
                </a:cubicBezTo>
                <a:lnTo>
                  <a:pt x="474735" y="464042"/>
                </a:lnTo>
                <a:cubicBezTo>
                  <a:pt x="498964" y="434557"/>
                  <a:pt x="525287" y="409646"/>
                  <a:pt x="575110" y="409646"/>
                </a:cubicBezTo>
                <a:cubicBezTo>
                  <a:pt x="628119" y="409646"/>
                  <a:pt x="660402" y="445455"/>
                  <a:pt x="660402" y="494596"/>
                </a:cubicBezTo>
                <a:cubicBezTo>
                  <a:pt x="660402" y="529700"/>
                  <a:pt x="643908" y="558821"/>
                  <a:pt x="616539" y="588305"/>
                </a:cubicBezTo>
                <a:lnTo>
                  <a:pt x="438926" y="777134"/>
                </a:lnTo>
                <a:lnTo>
                  <a:pt x="438926" y="836809"/>
                </a:lnTo>
                <a:lnTo>
                  <a:pt x="753429" y="836809"/>
                </a:lnTo>
                <a:lnTo>
                  <a:pt x="753429" y="764508"/>
                </a:lnTo>
                <a:lnTo>
                  <a:pt x="551609" y="764508"/>
                </a:lnTo>
                <a:lnTo>
                  <a:pt x="674803" y="632532"/>
                </a:lnTo>
                <a:cubicBezTo>
                  <a:pt x="704993" y="599885"/>
                  <a:pt x="740097" y="556728"/>
                  <a:pt x="740097" y="494937"/>
                </a:cubicBezTo>
                <a:close/>
                <a:moveTo>
                  <a:pt x="586872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51"/>
                  <a:pt x="586872" y="1095551"/>
                </a:cubicBezTo>
                <a:cubicBezTo>
                  <a:pt x="449937" y="1095551"/>
                  <a:pt x="313001" y="1036854"/>
                  <a:pt x="219087" y="939050"/>
                </a:cubicBezTo>
                <a:cubicBezTo>
                  <a:pt x="203435" y="923397"/>
                  <a:pt x="179957" y="923397"/>
                  <a:pt x="164304" y="939050"/>
                </a:cubicBezTo>
                <a:cubicBezTo>
                  <a:pt x="148652" y="954702"/>
                  <a:pt x="148652" y="978181"/>
                  <a:pt x="164304" y="993833"/>
                </a:cubicBezTo>
                <a:cubicBezTo>
                  <a:pt x="273848" y="1107313"/>
                  <a:pt x="426436" y="1173812"/>
                  <a:pt x="586872" y="1173812"/>
                </a:cubicBezTo>
                <a:cubicBezTo>
                  <a:pt x="911613" y="1173812"/>
                  <a:pt x="1173767" y="911658"/>
                  <a:pt x="1173767" y="586895"/>
                </a:cubicBezTo>
                <a:cubicBezTo>
                  <a:pt x="1173767" y="262131"/>
                  <a:pt x="911613" y="0"/>
                  <a:pt x="586872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1AF5C75-ACFB-4FE5-8EC7-20977302FCF4}"/>
              </a:ext>
            </a:extLst>
          </p:cNvPr>
          <p:cNvSpPr/>
          <p:nvPr/>
        </p:nvSpPr>
        <p:spPr>
          <a:xfrm>
            <a:off x="6413233" y="1916832"/>
            <a:ext cx="636870" cy="636894"/>
          </a:xfrm>
          <a:custGeom>
            <a:avLst/>
            <a:gdLst>
              <a:gd name="connsiteX0" fmla="*/ 543009 w 1173790"/>
              <a:gd name="connsiteY0" fmla="*/ 832600 h 1173835"/>
              <a:gd name="connsiteX1" fmla="*/ 755704 w 1173790"/>
              <a:gd name="connsiteY1" fmla="*/ 400864 h 1173835"/>
              <a:gd name="connsiteX2" fmla="*/ 755704 w 1173790"/>
              <a:gd name="connsiteY2" fmla="*/ 341189 h 1173835"/>
              <a:gd name="connsiteX3" fmla="*/ 418041 w 1173790"/>
              <a:gd name="connsiteY3" fmla="*/ 341189 h 1173835"/>
              <a:gd name="connsiteX4" fmla="*/ 418041 w 1173790"/>
              <a:gd name="connsiteY4" fmla="*/ 413149 h 1173835"/>
              <a:gd name="connsiteX5" fmla="*/ 664087 w 1173790"/>
              <a:gd name="connsiteY5" fmla="*/ 413149 h 1173835"/>
              <a:gd name="connsiteX6" fmla="*/ 454191 w 1173790"/>
              <a:gd name="connsiteY6" fmla="*/ 832600 h 1173835"/>
              <a:gd name="connsiteX7" fmla="*/ 543009 w 1173790"/>
              <a:gd name="connsiteY7" fmla="*/ 832600 h 1173835"/>
              <a:gd name="connsiteX8" fmla="*/ 586895 w 1173790"/>
              <a:gd name="connsiteY8" fmla="*/ 0 h 1173835"/>
              <a:gd name="connsiteX9" fmla="*/ 0 w 1173790"/>
              <a:gd name="connsiteY9" fmla="*/ 586918 h 1173835"/>
              <a:gd name="connsiteX10" fmla="*/ 39131 w 1173790"/>
              <a:gd name="connsiteY10" fmla="*/ 802115 h 1173835"/>
              <a:gd name="connsiteX11" fmla="*/ 90001 w 1173790"/>
              <a:gd name="connsiteY11" fmla="*/ 825593 h 1173835"/>
              <a:gd name="connsiteX12" fmla="*/ 113479 w 1173790"/>
              <a:gd name="connsiteY12" fmla="*/ 774723 h 1173835"/>
              <a:gd name="connsiteX13" fmla="*/ 78262 w 1173790"/>
              <a:gd name="connsiteY13" fmla="*/ 586918 h 1173835"/>
              <a:gd name="connsiteX14" fmla="*/ 586895 w 1173790"/>
              <a:gd name="connsiteY14" fmla="*/ 78262 h 1173835"/>
              <a:gd name="connsiteX15" fmla="*/ 1095528 w 1173790"/>
              <a:gd name="connsiteY15" fmla="*/ 586918 h 1173835"/>
              <a:gd name="connsiteX16" fmla="*/ 586895 w 1173790"/>
              <a:gd name="connsiteY16" fmla="*/ 1095573 h 1173835"/>
              <a:gd name="connsiteX17" fmla="*/ 219110 w 1173790"/>
              <a:gd name="connsiteY17" fmla="*/ 939073 h 1173835"/>
              <a:gd name="connsiteX18" fmla="*/ 164327 w 1173790"/>
              <a:gd name="connsiteY18" fmla="*/ 939073 h 1173835"/>
              <a:gd name="connsiteX19" fmla="*/ 164327 w 1173790"/>
              <a:gd name="connsiteY19" fmla="*/ 993856 h 1173835"/>
              <a:gd name="connsiteX20" fmla="*/ 586895 w 1173790"/>
              <a:gd name="connsiteY20" fmla="*/ 1173835 h 1173835"/>
              <a:gd name="connsiteX21" fmla="*/ 1173790 w 1173790"/>
              <a:gd name="connsiteY21" fmla="*/ 586918 h 1173835"/>
              <a:gd name="connsiteX22" fmla="*/ 586895 w 1173790"/>
              <a:gd name="connsiteY2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73790" h="1173835">
                <a:moveTo>
                  <a:pt x="543009" y="832600"/>
                </a:moveTo>
                <a:lnTo>
                  <a:pt x="755704" y="400864"/>
                </a:lnTo>
                <a:lnTo>
                  <a:pt x="755704" y="341189"/>
                </a:lnTo>
                <a:lnTo>
                  <a:pt x="418041" y="341189"/>
                </a:lnTo>
                <a:lnTo>
                  <a:pt x="418041" y="413149"/>
                </a:lnTo>
                <a:lnTo>
                  <a:pt x="664087" y="413149"/>
                </a:lnTo>
                <a:lnTo>
                  <a:pt x="454191" y="832600"/>
                </a:lnTo>
                <a:lnTo>
                  <a:pt x="543009" y="832600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4" y="954725"/>
                  <a:pt x="148674" y="978203"/>
                  <a:pt x="164327" y="993856"/>
                </a:cubicBezTo>
                <a:cubicBezTo>
                  <a:pt x="273870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F12488D-0813-42B4-86EF-369CF7C67743}"/>
              </a:ext>
            </a:extLst>
          </p:cNvPr>
          <p:cNvSpPr/>
          <p:nvPr/>
        </p:nvSpPr>
        <p:spPr>
          <a:xfrm>
            <a:off x="8411459" y="1916832"/>
            <a:ext cx="636869" cy="636894"/>
          </a:xfrm>
          <a:custGeom>
            <a:avLst/>
            <a:gdLst>
              <a:gd name="connsiteX0" fmla="*/ 579524 w 1173789"/>
              <a:gd name="connsiteY0" fmla="*/ 836809 h 1173835"/>
              <a:gd name="connsiteX1" fmla="*/ 720964 w 1173789"/>
              <a:gd name="connsiteY1" fmla="*/ 624115 h 1173835"/>
              <a:gd name="connsiteX2" fmla="*/ 765190 w 1173789"/>
              <a:gd name="connsiteY2" fmla="*/ 500215 h 1173835"/>
              <a:gd name="connsiteX3" fmla="*/ 586894 w 1173789"/>
              <a:gd name="connsiteY3" fmla="*/ 337003 h 1173835"/>
              <a:gd name="connsiteX4" fmla="*/ 408576 w 1173789"/>
              <a:gd name="connsiteY4" fmla="*/ 500215 h 1173835"/>
              <a:gd name="connsiteX5" fmla="*/ 573541 w 1173789"/>
              <a:gd name="connsiteY5" fmla="*/ 663427 h 1173835"/>
              <a:gd name="connsiteX6" fmla="*/ 611442 w 1173789"/>
              <a:gd name="connsiteY6" fmla="*/ 658513 h 1173835"/>
              <a:gd name="connsiteX7" fmla="*/ 486497 w 1173789"/>
              <a:gd name="connsiteY7" fmla="*/ 836809 h 1173835"/>
              <a:gd name="connsiteX8" fmla="*/ 579524 w 1173789"/>
              <a:gd name="connsiteY8" fmla="*/ 836809 h 1173835"/>
              <a:gd name="connsiteX9" fmla="*/ 586894 w 1173789"/>
              <a:gd name="connsiteY9" fmla="*/ 592878 h 1173835"/>
              <a:gd name="connsiteX10" fmla="*/ 487202 w 1173789"/>
              <a:gd name="connsiteY10" fmla="*/ 500215 h 1173835"/>
              <a:gd name="connsiteX11" fmla="*/ 586894 w 1173789"/>
              <a:gd name="connsiteY11" fmla="*/ 407553 h 1173835"/>
              <a:gd name="connsiteX12" fmla="*/ 686588 w 1173789"/>
              <a:gd name="connsiteY12" fmla="*/ 500215 h 1173835"/>
              <a:gd name="connsiteX13" fmla="*/ 586894 w 1173789"/>
              <a:gd name="connsiteY13" fmla="*/ 592878 h 1173835"/>
              <a:gd name="connsiteX14" fmla="*/ 586894 w 1173789"/>
              <a:gd name="connsiteY14" fmla="*/ 0 h 1173835"/>
              <a:gd name="connsiteX15" fmla="*/ 0 w 1173789"/>
              <a:gd name="connsiteY15" fmla="*/ 586918 h 1173835"/>
              <a:gd name="connsiteX16" fmla="*/ 39130 w 1173789"/>
              <a:gd name="connsiteY16" fmla="*/ 802115 h 1173835"/>
              <a:gd name="connsiteX17" fmla="*/ 90001 w 1173789"/>
              <a:gd name="connsiteY17" fmla="*/ 825593 h 1173835"/>
              <a:gd name="connsiteX18" fmla="*/ 113479 w 1173789"/>
              <a:gd name="connsiteY18" fmla="*/ 774723 h 1173835"/>
              <a:gd name="connsiteX19" fmla="*/ 78262 w 1173789"/>
              <a:gd name="connsiteY19" fmla="*/ 586918 h 1173835"/>
              <a:gd name="connsiteX20" fmla="*/ 586894 w 1173789"/>
              <a:gd name="connsiteY20" fmla="*/ 78262 h 1173835"/>
              <a:gd name="connsiteX21" fmla="*/ 1095528 w 1173789"/>
              <a:gd name="connsiteY21" fmla="*/ 586918 h 1173835"/>
              <a:gd name="connsiteX22" fmla="*/ 586894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4 w 1173789"/>
              <a:gd name="connsiteY26" fmla="*/ 1173835 h 1173835"/>
              <a:gd name="connsiteX27" fmla="*/ 1173790 w 1173789"/>
              <a:gd name="connsiteY27" fmla="*/ 586918 h 1173835"/>
              <a:gd name="connsiteX28" fmla="*/ 586894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79524" y="836809"/>
                </a:moveTo>
                <a:lnTo>
                  <a:pt x="720964" y="624115"/>
                </a:lnTo>
                <a:cubicBezTo>
                  <a:pt x="749743" y="581298"/>
                  <a:pt x="765190" y="543396"/>
                  <a:pt x="765190" y="500215"/>
                </a:cubicBezTo>
                <a:cubicBezTo>
                  <a:pt x="765190" y="406847"/>
                  <a:pt x="688681" y="337003"/>
                  <a:pt x="586894" y="337003"/>
                </a:cubicBezTo>
                <a:cubicBezTo>
                  <a:pt x="484745" y="337003"/>
                  <a:pt x="408576" y="406847"/>
                  <a:pt x="408576" y="500215"/>
                </a:cubicBezTo>
                <a:cubicBezTo>
                  <a:pt x="408576" y="593583"/>
                  <a:pt x="483698" y="663427"/>
                  <a:pt x="573541" y="663427"/>
                </a:cubicBezTo>
                <a:cubicBezTo>
                  <a:pt x="590035" y="663427"/>
                  <a:pt x="601979" y="661312"/>
                  <a:pt x="611442" y="658513"/>
                </a:cubicBezTo>
                <a:lnTo>
                  <a:pt x="486497" y="836809"/>
                </a:lnTo>
                <a:lnTo>
                  <a:pt x="579524" y="836809"/>
                </a:lnTo>
                <a:close/>
                <a:moveTo>
                  <a:pt x="586894" y="592878"/>
                </a:moveTo>
                <a:cubicBezTo>
                  <a:pt x="530041" y="592878"/>
                  <a:pt x="487202" y="554976"/>
                  <a:pt x="487202" y="500215"/>
                </a:cubicBezTo>
                <a:cubicBezTo>
                  <a:pt x="487202" y="445455"/>
                  <a:pt x="530018" y="407553"/>
                  <a:pt x="586894" y="407553"/>
                </a:cubicBezTo>
                <a:cubicBezTo>
                  <a:pt x="643407" y="407553"/>
                  <a:pt x="686588" y="445114"/>
                  <a:pt x="686588" y="500215"/>
                </a:cubicBezTo>
                <a:cubicBezTo>
                  <a:pt x="686588" y="554976"/>
                  <a:pt x="643407" y="592878"/>
                  <a:pt x="586894" y="592878"/>
                </a:cubicBezTo>
                <a:close/>
                <a:moveTo>
                  <a:pt x="586894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0" y="802115"/>
                </a:cubicBezTo>
                <a:cubicBezTo>
                  <a:pt x="46956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4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4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7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8" y="1173835"/>
                  <a:pt x="586894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4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B2C4E62E-697F-4CFD-9366-10D581CE8429}"/>
              </a:ext>
            </a:extLst>
          </p:cNvPr>
          <p:cNvSpPr/>
          <p:nvPr/>
        </p:nvSpPr>
        <p:spPr>
          <a:xfrm>
            <a:off x="7412346" y="1916832"/>
            <a:ext cx="636869" cy="636894"/>
          </a:xfrm>
          <a:custGeom>
            <a:avLst/>
            <a:gdLst>
              <a:gd name="connsiteX0" fmla="*/ 399795 w 1173789"/>
              <a:gd name="connsiteY0" fmla="*/ 699237 h 1173835"/>
              <a:gd name="connsiteX1" fmla="*/ 586872 w 1173789"/>
              <a:gd name="connsiteY1" fmla="*/ 841041 h 1173835"/>
              <a:gd name="connsiteX2" fmla="*/ 773950 w 1173789"/>
              <a:gd name="connsiteY2" fmla="*/ 699237 h 1173835"/>
              <a:gd name="connsiteX3" fmla="*/ 686907 w 1173789"/>
              <a:gd name="connsiteY3" fmla="*/ 584802 h 1173835"/>
              <a:gd name="connsiteX4" fmla="*/ 762370 w 1173789"/>
              <a:gd name="connsiteY4" fmla="*/ 473188 h 1173835"/>
              <a:gd name="connsiteX5" fmla="*/ 586872 w 1173789"/>
              <a:gd name="connsiteY5" fmla="*/ 332794 h 1173835"/>
              <a:gd name="connsiteX6" fmla="*/ 411374 w 1173789"/>
              <a:gd name="connsiteY6" fmla="*/ 473188 h 1173835"/>
              <a:gd name="connsiteX7" fmla="*/ 486839 w 1173789"/>
              <a:gd name="connsiteY7" fmla="*/ 584802 h 1173835"/>
              <a:gd name="connsiteX8" fmla="*/ 399795 w 1173789"/>
              <a:gd name="connsiteY8" fmla="*/ 699237 h 1173835"/>
              <a:gd name="connsiteX9" fmla="*/ 586896 w 1173789"/>
              <a:gd name="connsiteY9" fmla="*/ 403685 h 1173835"/>
              <a:gd name="connsiteX10" fmla="*/ 682014 w 1173789"/>
              <a:gd name="connsiteY10" fmla="*/ 477033 h 1173835"/>
              <a:gd name="connsiteX11" fmla="*/ 586896 w 1173789"/>
              <a:gd name="connsiteY11" fmla="*/ 552155 h 1173835"/>
              <a:gd name="connsiteX12" fmla="*/ 492116 w 1173789"/>
              <a:gd name="connsiteY12" fmla="*/ 477033 h 1173835"/>
              <a:gd name="connsiteX13" fmla="*/ 586896 w 1173789"/>
              <a:gd name="connsiteY13" fmla="*/ 403685 h 1173835"/>
              <a:gd name="connsiteX14" fmla="*/ 586896 w 1173789"/>
              <a:gd name="connsiteY14" fmla="*/ 618859 h 1173835"/>
              <a:gd name="connsiteX15" fmla="*/ 692890 w 1173789"/>
              <a:gd name="connsiteY15" fmla="*/ 695028 h 1173835"/>
              <a:gd name="connsiteX16" fmla="*/ 586896 w 1173789"/>
              <a:gd name="connsiteY16" fmla="*/ 770491 h 1173835"/>
              <a:gd name="connsiteX17" fmla="*/ 480537 w 1173789"/>
              <a:gd name="connsiteY17" fmla="*/ 695028 h 1173835"/>
              <a:gd name="connsiteX18" fmla="*/ 586896 w 1173789"/>
              <a:gd name="connsiteY18" fmla="*/ 618859 h 1173835"/>
              <a:gd name="connsiteX19" fmla="*/ 586896 w 1173789"/>
              <a:gd name="connsiteY19" fmla="*/ 0 h 1173835"/>
              <a:gd name="connsiteX20" fmla="*/ 0 w 1173789"/>
              <a:gd name="connsiteY20" fmla="*/ 586918 h 1173835"/>
              <a:gd name="connsiteX21" fmla="*/ 39131 w 1173789"/>
              <a:gd name="connsiteY21" fmla="*/ 802115 h 1173835"/>
              <a:gd name="connsiteX22" fmla="*/ 90001 w 1173789"/>
              <a:gd name="connsiteY22" fmla="*/ 825593 h 1173835"/>
              <a:gd name="connsiteX23" fmla="*/ 113479 w 1173789"/>
              <a:gd name="connsiteY23" fmla="*/ 774723 h 1173835"/>
              <a:gd name="connsiteX24" fmla="*/ 78262 w 1173789"/>
              <a:gd name="connsiteY24" fmla="*/ 586918 h 1173835"/>
              <a:gd name="connsiteX25" fmla="*/ 586896 w 1173789"/>
              <a:gd name="connsiteY25" fmla="*/ 78262 h 1173835"/>
              <a:gd name="connsiteX26" fmla="*/ 1095528 w 1173789"/>
              <a:gd name="connsiteY26" fmla="*/ 586918 h 1173835"/>
              <a:gd name="connsiteX27" fmla="*/ 586896 w 1173789"/>
              <a:gd name="connsiteY27" fmla="*/ 1095573 h 1173835"/>
              <a:gd name="connsiteX28" fmla="*/ 219110 w 1173789"/>
              <a:gd name="connsiteY28" fmla="*/ 939073 h 1173835"/>
              <a:gd name="connsiteX29" fmla="*/ 164327 w 1173789"/>
              <a:gd name="connsiteY29" fmla="*/ 939073 h 1173835"/>
              <a:gd name="connsiteX30" fmla="*/ 164327 w 1173789"/>
              <a:gd name="connsiteY30" fmla="*/ 993856 h 1173835"/>
              <a:gd name="connsiteX31" fmla="*/ 586896 w 1173789"/>
              <a:gd name="connsiteY31" fmla="*/ 1173835 h 1173835"/>
              <a:gd name="connsiteX32" fmla="*/ 1173790 w 1173789"/>
              <a:gd name="connsiteY32" fmla="*/ 586918 h 1173835"/>
              <a:gd name="connsiteX33" fmla="*/ 586896 w 1173789"/>
              <a:gd name="connsiteY33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73789" h="1173835">
                <a:moveTo>
                  <a:pt x="399795" y="699237"/>
                </a:moveTo>
                <a:cubicBezTo>
                  <a:pt x="399795" y="788396"/>
                  <a:pt x="483676" y="841041"/>
                  <a:pt x="586872" y="841041"/>
                </a:cubicBezTo>
                <a:cubicBezTo>
                  <a:pt x="690068" y="841041"/>
                  <a:pt x="773950" y="788396"/>
                  <a:pt x="773950" y="699237"/>
                </a:cubicBezTo>
                <a:cubicBezTo>
                  <a:pt x="773950" y="639221"/>
                  <a:pt x="735000" y="603776"/>
                  <a:pt x="686907" y="584802"/>
                </a:cubicBezTo>
                <a:cubicBezTo>
                  <a:pt x="729382" y="565145"/>
                  <a:pt x="762370" y="530041"/>
                  <a:pt x="762370" y="473188"/>
                </a:cubicBezTo>
                <a:cubicBezTo>
                  <a:pt x="762370" y="385098"/>
                  <a:pt x="683744" y="332794"/>
                  <a:pt x="586872" y="332794"/>
                </a:cubicBezTo>
                <a:cubicBezTo>
                  <a:pt x="490000" y="332794"/>
                  <a:pt x="411374" y="385098"/>
                  <a:pt x="411374" y="473188"/>
                </a:cubicBezTo>
                <a:cubicBezTo>
                  <a:pt x="411374" y="530041"/>
                  <a:pt x="444363" y="565145"/>
                  <a:pt x="486839" y="584802"/>
                </a:cubicBezTo>
                <a:cubicBezTo>
                  <a:pt x="438403" y="603753"/>
                  <a:pt x="399795" y="639198"/>
                  <a:pt x="399795" y="699237"/>
                </a:cubicBezTo>
                <a:close/>
                <a:moveTo>
                  <a:pt x="586896" y="403685"/>
                </a:moveTo>
                <a:cubicBezTo>
                  <a:pt x="639198" y="403685"/>
                  <a:pt x="682014" y="429302"/>
                  <a:pt x="682014" y="477033"/>
                </a:cubicBezTo>
                <a:cubicBezTo>
                  <a:pt x="682014" y="526515"/>
                  <a:pt x="639198" y="552155"/>
                  <a:pt x="586896" y="552155"/>
                </a:cubicBezTo>
                <a:cubicBezTo>
                  <a:pt x="534592" y="552155"/>
                  <a:pt x="492116" y="526538"/>
                  <a:pt x="492116" y="477033"/>
                </a:cubicBezTo>
                <a:cubicBezTo>
                  <a:pt x="492116" y="429302"/>
                  <a:pt x="534592" y="403685"/>
                  <a:pt x="586896" y="403685"/>
                </a:cubicBezTo>
                <a:close/>
                <a:moveTo>
                  <a:pt x="586896" y="618859"/>
                </a:moveTo>
                <a:cubicBezTo>
                  <a:pt x="644818" y="618859"/>
                  <a:pt x="692890" y="645182"/>
                  <a:pt x="692890" y="695028"/>
                </a:cubicBezTo>
                <a:cubicBezTo>
                  <a:pt x="692890" y="744510"/>
                  <a:pt x="644795" y="770491"/>
                  <a:pt x="586896" y="770491"/>
                </a:cubicBezTo>
                <a:cubicBezTo>
                  <a:pt x="528631" y="770491"/>
                  <a:pt x="480537" y="744510"/>
                  <a:pt x="480537" y="695028"/>
                </a:cubicBezTo>
                <a:cubicBezTo>
                  <a:pt x="480537" y="645182"/>
                  <a:pt x="528608" y="618859"/>
                  <a:pt x="586896" y="618859"/>
                </a:cubicBezTo>
                <a:close/>
                <a:moveTo>
                  <a:pt x="586896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6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6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9" y="1173835"/>
                  <a:pt x="586896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6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9AD6473-99AF-8CC5-86D8-B1D75C99D966}"/>
              </a:ext>
            </a:extLst>
          </p:cNvPr>
          <p:cNvSpPr txBox="1">
            <a:spLocks/>
          </p:cNvSpPr>
          <p:nvPr/>
        </p:nvSpPr>
        <p:spPr>
          <a:xfrm>
            <a:off x="7968209" y="403903"/>
            <a:ext cx="1440160" cy="1440160"/>
          </a:xfrm>
          <a:prstGeom prst="ellipse">
            <a:avLst/>
          </a:prstGeom>
          <a:solidFill>
            <a:schemeClr val="accent2"/>
          </a:solidFill>
        </p:spPr>
        <p:txBody>
          <a:bodyPr wrap="none" rtlCol="0" anchor="ctr" anchorCtr="0"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 b="1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UR </a:t>
            </a: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pulsorange,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iefenblau,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warz oder</a:t>
            </a:r>
            <a:b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Weiß</a:t>
            </a:r>
          </a:p>
        </p:txBody>
      </p:sp>
      <p:sp>
        <p:nvSpPr>
          <p:cNvPr id="6" name="Textfeld 7">
            <a:extLst>
              <a:ext uri="{FF2B5EF4-FFF2-40B4-BE49-F238E27FC236}">
                <a16:creationId xmlns:a16="http://schemas.microsoft.com/office/drawing/2014/main" id="{210B9AF0-BC23-89AB-4B9F-44DBAFBB1269}"/>
              </a:ext>
            </a:extLst>
          </p:cNvPr>
          <p:cNvSpPr txBox="1"/>
          <p:nvPr/>
        </p:nvSpPr>
        <p:spPr>
          <a:xfrm>
            <a:off x="9478800" y="864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stetig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2"/>
              </a:rPr>
              <a:t>Netze BW | Design Guide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2"/>
              </a:rPr>
              <a:t>Bynder</a:t>
            </a:r>
            <a:endParaRPr lang="de-DE" sz="1000" u="sng" dirty="0">
              <a:solidFill>
                <a:srgbClr val="0563C1"/>
              </a:solidFill>
              <a:effectLst/>
              <a:ea typeface="Times New Roman" panose="02020603050405020304" pitchFamily="18" charset="0"/>
            </a:endParaRP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9A8F27A8-5387-9F9A-F35A-9DCEEA06828F}"/>
              </a:ext>
            </a:extLst>
          </p:cNvPr>
          <p:cNvSpPr/>
          <p:nvPr/>
        </p:nvSpPr>
        <p:spPr>
          <a:xfrm>
            <a:off x="418571" y="1881188"/>
            <a:ext cx="636869" cy="636894"/>
          </a:xfrm>
          <a:custGeom>
            <a:avLst/>
            <a:gdLst>
              <a:gd name="connsiteX0" fmla="*/ 687452 w 1173789"/>
              <a:gd name="connsiteY0" fmla="*/ 836468 h 1173835"/>
              <a:gd name="connsiteX1" fmla="*/ 687452 w 1173789"/>
              <a:gd name="connsiteY1" fmla="*/ 337344 h 1173835"/>
              <a:gd name="connsiteX2" fmla="*/ 486338 w 1173789"/>
              <a:gd name="connsiteY2" fmla="*/ 422295 h 1173835"/>
              <a:gd name="connsiteX3" fmla="*/ 486338 w 1173789"/>
              <a:gd name="connsiteY3" fmla="*/ 501626 h 1173835"/>
              <a:gd name="connsiteX4" fmla="*/ 611284 w 1173789"/>
              <a:gd name="connsiteY4" fmla="*/ 447935 h 1173835"/>
              <a:gd name="connsiteX5" fmla="*/ 611284 w 1173789"/>
              <a:gd name="connsiteY5" fmla="*/ 836491 h 1173835"/>
              <a:gd name="connsiteX6" fmla="*/ 687452 w 1173789"/>
              <a:gd name="connsiteY6" fmla="*/ 836491 h 1173835"/>
              <a:gd name="connsiteX7" fmla="*/ 586895 w 1173789"/>
              <a:gd name="connsiteY7" fmla="*/ 0 h 1173835"/>
              <a:gd name="connsiteX8" fmla="*/ 0 w 1173789"/>
              <a:gd name="connsiteY8" fmla="*/ 586918 h 1173835"/>
              <a:gd name="connsiteX9" fmla="*/ 39131 w 1173789"/>
              <a:gd name="connsiteY9" fmla="*/ 802115 h 1173835"/>
              <a:gd name="connsiteX10" fmla="*/ 90001 w 1173789"/>
              <a:gd name="connsiteY10" fmla="*/ 825593 h 1173835"/>
              <a:gd name="connsiteX11" fmla="*/ 113480 w 1173789"/>
              <a:gd name="connsiteY11" fmla="*/ 774723 h 1173835"/>
              <a:gd name="connsiteX12" fmla="*/ 78262 w 1173789"/>
              <a:gd name="connsiteY12" fmla="*/ 586918 h 1173835"/>
              <a:gd name="connsiteX13" fmla="*/ 586895 w 1173789"/>
              <a:gd name="connsiteY13" fmla="*/ 78262 h 1173835"/>
              <a:gd name="connsiteX14" fmla="*/ 1095528 w 1173789"/>
              <a:gd name="connsiteY14" fmla="*/ 586918 h 1173835"/>
              <a:gd name="connsiteX15" fmla="*/ 586895 w 1173789"/>
              <a:gd name="connsiteY15" fmla="*/ 1095573 h 1173835"/>
              <a:gd name="connsiteX16" fmla="*/ 219110 w 1173789"/>
              <a:gd name="connsiteY16" fmla="*/ 939073 h 1173835"/>
              <a:gd name="connsiteX17" fmla="*/ 164327 w 1173789"/>
              <a:gd name="connsiteY17" fmla="*/ 939073 h 1173835"/>
              <a:gd name="connsiteX18" fmla="*/ 164327 w 1173789"/>
              <a:gd name="connsiteY18" fmla="*/ 993856 h 1173835"/>
              <a:gd name="connsiteX19" fmla="*/ 586895 w 1173789"/>
              <a:gd name="connsiteY19" fmla="*/ 1173835 h 1173835"/>
              <a:gd name="connsiteX20" fmla="*/ 1173790 w 1173789"/>
              <a:gd name="connsiteY20" fmla="*/ 586918 h 1173835"/>
              <a:gd name="connsiteX21" fmla="*/ 586895 w 1173789"/>
              <a:gd name="connsiteY21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3789" h="1173835">
                <a:moveTo>
                  <a:pt x="687452" y="836468"/>
                </a:moveTo>
                <a:lnTo>
                  <a:pt x="687452" y="337344"/>
                </a:lnTo>
                <a:lnTo>
                  <a:pt x="486338" y="422295"/>
                </a:lnTo>
                <a:lnTo>
                  <a:pt x="486338" y="501626"/>
                </a:lnTo>
                <a:lnTo>
                  <a:pt x="611284" y="447935"/>
                </a:lnTo>
                <a:lnTo>
                  <a:pt x="611284" y="836491"/>
                </a:lnTo>
                <a:lnTo>
                  <a:pt x="687452" y="836491"/>
                </a:lnTo>
                <a:close/>
                <a:moveTo>
                  <a:pt x="586895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235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15049EC-DD16-48DE-A91E-CEF6FA044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7101486-AA52-4DD8-A62E-0FA06099F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  <a:p>
            <a:r>
              <a:rPr lang="de-DE" dirty="0"/>
              <a:t>Diagramme</a:t>
            </a:r>
          </a:p>
          <a:p>
            <a:r>
              <a:rPr lang="de-DE" dirty="0"/>
              <a:t>Tabellen</a:t>
            </a:r>
          </a:p>
          <a:p>
            <a:r>
              <a:rPr lang="de-DE" dirty="0"/>
              <a:t>Prozesse und Projektpläne</a:t>
            </a:r>
          </a:p>
          <a:p>
            <a:r>
              <a:rPr lang="de-DE" dirty="0"/>
              <a:t>Organigramme</a:t>
            </a:r>
          </a:p>
          <a:p>
            <a:r>
              <a:rPr lang="de-DE" dirty="0"/>
              <a:t>Formen und </a:t>
            </a:r>
            <a:r>
              <a:rPr lang="de-DE" dirty="0" err="1"/>
              <a:t>Textboxe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50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9340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B42EF47D-C9B6-4304-9F54-22A7E9C2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6</a:t>
            </a:fld>
            <a:endParaRPr lang="de-DE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8E1579EF-56CB-4284-973C-25331A80158F}"/>
              </a:ext>
            </a:extLst>
          </p:cNvPr>
          <p:cNvCxnSpPr>
            <a:cxnSpLocks/>
          </p:cNvCxnSpPr>
          <p:nvPr/>
        </p:nvCxnSpPr>
        <p:spPr>
          <a:xfrm>
            <a:off x="5000551" y="3394748"/>
            <a:ext cx="219624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6">
            <a:extLst>
              <a:ext uri="{FF2B5EF4-FFF2-40B4-BE49-F238E27FC236}">
                <a16:creationId xmlns:a16="http://schemas.microsoft.com/office/drawing/2014/main" id="{3C127CCC-07ED-4378-8D3C-A62ECA287ECC}"/>
              </a:ext>
            </a:extLst>
          </p:cNvPr>
          <p:cNvSpPr>
            <a:spLocks noChangeAspect="1"/>
          </p:cNvSpPr>
          <p:nvPr/>
        </p:nvSpPr>
        <p:spPr>
          <a:xfrm>
            <a:off x="4160883" y="2963266"/>
            <a:ext cx="862965" cy="862965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dirty="0">
                <a:solidFill>
                  <a:schemeClr val="bg1"/>
                </a:solidFill>
                <a:cs typeface="EnBW DIN Pro"/>
              </a:rPr>
              <a:t>0,8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36" name="object 7">
            <a:extLst>
              <a:ext uri="{FF2B5EF4-FFF2-40B4-BE49-F238E27FC236}">
                <a16:creationId xmlns:a16="http://schemas.microsoft.com/office/drawing/2014/main" id="{DC9F712B-313B-4E16-8FDA-C3BD7D57BC66}"/>
              </a:ext>
            </a:extLst>
          </p:cNvPr>
          <p:cNvSpPr txBox="1"/>
          <p:nvPr/>
        </p:nvSpPr>
        <p:spPr>
          <a:xfrm>
            <a:off x="2483876" y="4979067"/>
            <a:ext cx="1362873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 err="1">
                <a:cs typeface="EnBW DIN Pro Medium"/>
              </a:rPr>
              <a:t>Erzeugung</a:t>
            </a:r>
            <a:r>
              <a:rPr spc="-20" dirty="0">
                <a:cs typeface="EnBW DIN Pro Medium"/>
              </a:rPr>
              <a:t> </a:t>
            </a:r>
            <a:r>
              <a:rPr spc="5" dirty="0">
                <a:cs typeface="EnBW DIN Pro Medium"/>
              </a:rPr>
              <a:t>&amp;</a:t>
            </a:r>
            <a:br>
              <a:rPr lang="de-DE" spc="-50" dirty="0">
                <a:cs typeface="EnBW DIN Pro Medium"/>
              </a:rPr>
            </a:br>
            <a:r>
              <a:rPr dirty="0">
                <a:cs typeface="EnBW DIN Pro Medium"/>
              </a:rPr>
              <a:t>Handel</a:t>
            </a:r>
          </a:p>
        </p:txBody>
      </p:sp>
      <p:sp>
        <p:nvSpPr>
          <p:cNvPr id="37" name="object 8">
            <a:extLst>
              <a:ext uri="{FF2B5EF4-FFF2-40B4-BE49-F238E27FC236}">
                <a16:creationId xmlns:a16="http://schemas.microsoft.com/office/drawing/2014/main" id="{62AE1724-7D36-4AA0-B927-53257A737C95}"/>
              </a:ext>
            </a:extLst>
          </p:cNvPr>
          <p:cNvSpPr txBox="1"/>
          <p:nvPr/>
        </p:nvSpPr>
        <p:spPr>
          <a:xfrm>
            <a:off x="2551157" y="4032725"/>
            <a:ext cx="1295035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 err="1">
                <a:cs typeface="EnBW DIN Pro Medium"/>
              </a:rPr>
              <a:t>Erneuerbare</a:t>
            </a:r>
            <a:br>
              <a:rPr lang="de-DE" spc="-10" dirty="0">
                <a:cs typeface="EnBW DIN Pro Medium"/>
              </a:rPr>
            </a:br>
            <a:r>
              <a:rPr spc="-10" dirty="0" err="1">
                <a:cs typeface="EnBW DIN Pro Medium"/>
              </a:rPr>
              <a:t>Energien</a:t>
            </a:r>
            <a:endParaRPr dirty="0">
              <a:cs typeface="EnBW DIN Pro Medium"/>
            </a:endParaRPr>
          </a:p>
        </p:txBody>
      </p:sp>
      <p:sp>
        <p:nvSpPr>
          <p:cNvPr id="38" name="object 9">
            <a:extLst>
              <a:ext uri="{FF2B5EF4-FFF2-40B4-BE49-F238E27FC236}">
                <a16:creationId xmlns:a16="http://schemas.microsoft.com/office/drawing/2014/main" id="{B0F84E04-9CE4-4C06-A468-E009D387527F}"/>
              </a:ext>
            </a:extLst>
          </p:cNvPr>
          <p:cNvSpPr txBox="1"/>
          <p:nvPr/>
        </p:nvSpPr>
        <p:spPr>
          <a:xfrm>
            <a:off x="3228150" y="3249516"/>
            <a:ext cx="618119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>
                <a:cs typeface="EnBW DIN Pro Medium"/>
              </a:rPr>
              <a:t>Ne</a:t>
            </a:r>
            <a:r>
              <a:rPr dirty="0">
                <a:cs typeface="EnBW DIN Pro Medium"/>
              </a:rPr>
              <a:t>t</a:t>
            </a:r>
            <a:r>
              <a:rPr spc="-10" dirty="0">
                <a:cs typeface="EnBW DIN Pro Medium"/>
              </a:rPr>
              <a:t>ze</a:t>
            </a:r>
            <a:endParaRPr dirty="0">
              <a:cs typeface="EnBW DIN Pro Medium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:a16="http://schemas.microsoft.com/office/drawing/2014/main" id="{16DF53C5-59CB-4127-8405-CD1CB2B56480}"/>
              </a:ext>
            </a:extLst>
          </p:cNvPr>
          <p:cNvSpPr txBox="1"/>
          <p:nvPr/>
        </p:nvSpPr>
        <p:spPr>
          <a:xfrm>
            <a:off x="2908149" y="2392632"/>
            <a:ext cx="939423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>
                <a:cs typeface="EnBW DIN Pro Medium"/>
              </a:rPr>
              <a:t>Vertriebe</a:t>
            </a:r>
            <a:endParaRPr dirty="0">
              <a:cs typeface="EnBW DIN Pro Medium"/>
            </a:endParaRPr>
          </a:p>
        </p:txBody>
      </p:sp>
      <p:sp>
        <p:nvSpPr>
          <p:cNvPr id="40" name="object 25">
            <a:extLst>
              <a:ext uri="{FF2B5EF4-FFF2-40B4-BE49-F238E27FC236}">
                <a16:creationId xmlns:a16="http://schemas.microsoft.com/office/drawing/2014/main" id="{AE516E1E-52F9-42ED-A2C1-DFE96F21B2E3}"/>
              </a:ext>
            </a:extLst>
          </p:cNvPr>
          <p:cNvSpPr txBox="1"/>
          <p:nvPr/>
        </p:nvSpPr>
        <p:spPr>
          <a:xfrm>
            <a:off x="3750629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spc="-10" dirty="0">
                <a:latin typeface="+mj-lt"/>
                <a:cs typeface="EnBW DIN Pro"/>
              </a:rPr>
              <a:t>2,4</a:t>
            </a:r>
            <a:r>
              <a:rPr sz="2400" spc="-25" dirty="0">
                <a:latin typeface="+mj-lt"/>
                <a:cs typeface="EnBW DIN Pro"/>
              </a:rPr>
              <a:t> Mrd.</a:t>
            </a:r>
            <a:r>
              <a:rPr sz="2400" spc="10" dirty="0">
                <a:latin typeface="+mj-lt"/>
                <a:cs typeface="EnBW DIN Pro"/>
              </a:rPr>
              <a:t> </a:t>
            </a:r>
            <a:r>
              <a:rPr sz="2400" spc="-10" dirty="0">
                <a:latin typeface="+mj-lt"/>
                <a:cs typeface="EnBW DIN Pro"/>
              </a:rPr>
              <a:t>€</a:t>
            </a:r>
            <a:endParaRPr sz="2400" dirty="0">
              <a:latin typeface="+mj-lt"/>
              <a:cs typeface="EnBW DIN Pro"/>
            </a:endParaRPr>
          </a:p>
        </p:txBody>
      </p:sp>
      <p:sp>
        <p:nvSpPr>
          <p:cNvPr id="41" name="object 36">
            <a:extLst>
              <a:ext uri="{FF2B5EF4-FFF2-40B4-BE49-F238E27FC236}">
                <a16:creationId xmlns:a16="http://schemas.microsoft.com/office/drawing/2014/main" id="{A718A020-552C-4F58-80A2-A63C521D4768}"/>
              </a:ext>
            </a:extLst>
          </p:cNvPr>
          <p:cNvSpPr txBox="1"/>
          <p:nvPr/>
        </p:nvSpPr>
        <p:spPr>
          <a:xfrm>
            <a:off x="6716784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spc="-10" dirty="0">
                <a:latin typeface="+mj-lt"/>
                <a:cs typeface="EnBW DIN Pro"/>
              </a:rPr>
              <a:t>2,4</a:t>
            </a:r>
            <a:r>
              <a:rPr sz="2400" spc="-30" dirty="0">
                <a:latin typeface="+mj-lt"/>
                <a:cs typeface="EnBW DIN Pro"/>
              </a:rPr>
              <a:t> </a:t>
            </a:r>
            <a:r>
              <a:rPr sz="2400" spc="-25" dirty="0">
                <a:latin typeface="+mj-lt"/>
                <a:cs typeface="EnBW DIN Pro"/>
              </a:rPr>
              <a:t>Mrd.</a:t>
            </a:r>
            <a:r>
              <a:rPr sz="2400" spc="10" dirty="0">
                <a:latin typeface="+mj-lt"/>
                <a:cs typeface="EnBW DIN Pro"/>
              </a:rPr>
              <a:t> </a:t>
            </a:r>
            <a:r>
              <a:rPr sz="2400" spc="-10" dirty="0">
                <a:latin typeface="+mj-lt"/>
                <a:cs typeface="EnBW DIN Pro"/>
              </a:rPr>
              <a:t>€</a:t>
            </a:r>
            <a:endParaRPr sz="1200" dirty="0">
              <a:latin typeface="+mj-lt"/>
              <a:cs typeface="EnBW DIN Pro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2E4874D-9D8B-494B-83C8-A51EB8CDCBDA}"/>
              </a:ext>
            </a:extLst>
          </p:cNvPr>
          <p:cNvCxnSpPr>
            <a:cxnSpLocks/>
          </p:cNvCxnSpPr>
          <p:nvPr/>
        </p:nvCxnSpPr>
        <p:spPr>
          <a:xfrm>
            <a:off x="4871864" y="2537864"/>
            <a:ext cx="241226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27A42573-BB93-4151-B8D2-F64FA441A39F}"/>
              </a:ext>
            </a:extLst>
          </p:cNvPr>
          <p:cNvCxnSpPr>
            <a:cxnSpLocks/>
          </p:cNvCxnSpPr>
          <p:nvPr/>
        </p:nvCxnSpPr>
        <p:spPr>
          <a:xfrm>
            <a:off x="4475820" y="4316456"/>
            <a:ext cx="280831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19348BFE-6823-4941-9273-6FB929875205}"/>
              </a:ext>
            </a:extLst>
          </p:cNvPr>
          <p:cNvCxnSpPr>
            <a:cxnSpLocks/>
          </p:cNvCxnSpPr>
          <p:nvPr/>
        </p:nvCxnSpPr>
        <p:spPr>
          <a:xfrm>
            <a:off x="4871864" y="5262798"/>
            <a:ext cx="255628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27">
            <a:extLst>
              <a:ext uri="{FF2B5EF4-FFF2-40B4-BE49-F238E27FC236}">
                <a16:creationId xmlns:a16="http://schemas.microsoft.com/office/drawing/2014/main" id="{A00A6364-EE29-45DE-8E56-6C5E49585712}"/>
              </a:ext>
            </a:extLst>
          </p:cNvPr>
          <p:cNvSpPr txBox="1"/>
          <p:nvPr/>
        </p:nvSpPr>
        <p:spPr>
          <a:xfrm>
            <a:off x="5786284" y="511703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50" dirty="0">
                <a:cs typeface="EnBW DIN Pro Medium"/>
              </a:rPr>
              <a:t>-</a:t>
            </a:r>
            <a:r>
              <a:rPr sz="1600" b="0" spc="-5" dirty="0">
                <a:cs typeface="EnBW DIN Pro Medium"/>
              </a:rPr>
              <a:t>8</a:t>
            </a:r>
            <a:r>
              <a:rPr sz="1600" b="0" spc="40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6" name="object 31">
            <a:extLst>
              <a:ext uri="{FF2B5EF4-FFF2-40B4-BE49-F238E27FC236}">
                <a16:creationId xmlns:a16="http://schemas.microsoft.com/office/drawing/2014/main" id="{570455A5-91DD-451A-8E5E-CAE8F970315C}"/>
              </a:ext>
            </a:extLst>
          </p:cNvPr>
          <p:cNvSpPr txBox="1"/>
          <p:nvPr/>
        </p:nvSpPr>
        <p:spPr>
          <a:xfrm>
            <a:off x="5773307" y="324898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</a:t>
            </a:r>
            <a:r>
              <a:rPr sz="1600" b="0" spc="40" dirty="0">
                <a:cs typeface="EnBW DIN Pro Medium"/>
              </a:rPr>
              <a:t>5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7" name="object 33">
            <a:extLst>
              <a:ext uri="{FF2B5EF4-FFF2-40B4-BE49-F238E27FC236}">
                <a16:creationId xmlns:a16="http://schemas.microsoft.com/office/drawing/2014/main" id="{26FBD569-D7BC-436A-8B26-C13ED3645608}"/>
              </a:ext>
            </a:extLst>
          </p:cNvPr>
          <p:cNvSpPr txBox="1"/>
          <p:nvPr/>
        </p:nvSpPr>
        <p:spPr>
          <a:xfrm>
            <a:off x="5702207" y="2392097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10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CBD2BF8B-EE1E-4022-95E6-7C19E211AB42}"/>
              </a:ext>
            </a:extLst>
          </p:cNvPr>
          <p:cNvSpPr txBox="1"/>
          <p:nvPr/>
        </p:nvSpPr>
        <p:spPr>
          <a:xfrm>
            <a:off x="5702207" y="4170689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5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9" name="object 18">
            <a:extLst>
              <a:ext uri="{FF2B5EF4-FFF2-40B4-BE49-F238E27FC236}">
                <a16:creationId xmlns:a16="http://schemas.microsoft.com/office/drawing/2014/main" id="{25500C0B-0211-448F-954B-3E2F7C239177}"/>
              </a:ext>
            </a:extLst>
          </p:cNvPr>
          <p:cNvSpPr>
            <a:spLocks noChangeAspect="1"/>
          </p:cNvSpPr>
          <p:nvPr/>
        </p:nvSpPr>
        <p:spPr>
          <a:xfrm>
            <a:off x="4267563" y="2214649"/>
            <a:ext cx="649605" cy="64643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0" name="object 20">
            <a:extLst>
              <a:ext uri="{FF2B5EF4-FFF2-40B4-BE49-F238E27FC236}">
                <a16:creationId xmlns:a16="http://schemas.microsoft.com/office/drawing/2014/main" id="{BE30C678-54C5-4FDE-9001-BFD9948B8A84}"/>
              </a:ext>
            </a:extLst>
          </p:cNvPr>
          <p:cNvSpPr>
            <a:spLocks noChangeAspect="1"/>
          </p:cNvSpPr>
          <p:nvPr/>
        </p:nvSpPr>
        <p:spPr>
          <a:xfrm>
            <a:off x="4090715" y="4761148"/>
            <a:ext cx="1003300" cy="10033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2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81E64D7D-1595-43DC-BFD0-A7C2F5341A73}"/>
              </a:ext>
            </a:extLst>
          </p:cNvPr>
          <p:cNvSpPr>
            <a:spLocks noChangeAspect="1"/>
          </p:cNvSpPr>
          <p:nvPr/>
        </p:nvSpPr>
        <p:spPr>
          <a:xfrm>
            <a:off x="4276770" y="4000861"/>
            <a:ext cx="631190" cy="63119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2" name="object 16">
            <a:extLst>
              <a:ext uri="{FF2B5EF4-FFF2-40B4-BE49-F238E27FC236}">
                <a16:creationId xmlns:a16="http://schemas.microsoft.com/office/drawing/2014/main" id="{4EDA2DE9-E7E6-4C74-B34F-C30DDC1A0DF1}"/>
              </a:ext>
            </a:extLst>
          </p:cNvPr>
          <p:cNvSpPr>
            <a:spLocks noChangeAspect="1"/>
          </p:cNvSpPr>
          <p:nvPr/>
        </p:nvSpPr>
        <p:spPr>
          <a:xfrm>
            <a:off x="7124720" y="2960948"/>
            <a:ext cx="867600" cy="867600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0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54E29337-37B2-46BB-BEC8-AB47660585BC}"/>
              </a:ext>
            </a:extLst>
          </p:cNvPr>
          <p:cNvSpPr>
            <a:spLocks noChangeAspect="1"/>
          </p:cNvSpPr>
          <p:nvPr/>
        </p:nvSpPr>
        <p:spPr>
          <a:xfrm>
            <a:off x="7223885" y="2204864"/>
            <a:ext cx="669271" cy="66600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400" b="1" dirty="0">
                <a:solidFill>
                  <a:schemeClr val="bg1"/>
                </a:solidFill>
                <a:cs typeface="EnBW DIN Pro"/>
              </a:rPr>
              <a:t>0,4</a:t>
            </a:r>
            <a:endParaRPr lang="de-DE" sz="24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4" name="object 20">
            <a:extLst>
              <a:ext uri="{FF2B5EF4-FFF2-40B4-BE49-F238E27FC236}">
                <a16:creationId xmlns:a16="http://schemas.microsoft.com/office/drawing/2014/main" id="{3FB22B93-5D72-4D37-A959-1C6E7E817BD1}"/>
              </a:ext>
            </a:extLst>
          </p:cNvPr>
          <p:cNvSpPr>
            <a:spLocks noChangeAspect="1"/>
          </p:cNvSpPr>
          <p:nvPr/>
        </p:nvSpPr>
        <p:spPr>
          <a:xfrm>
            <a:off x="7241720" y="4945998"/>
            <a:ext cx="633600" cy="6336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3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25BF1CBF-4DDF-4E93-B9BB-D94AED3F3650}"/>
              </a:ext>
            </a:extLst>
          </p:cNvPr>
          <p:cNvSpPr>
            <a:spLocks noChangeAspect="1"/>
          </p:cNvSpPr>
          <p:nvPr/>
        </p:nvSpPr>
        <p:spPr>
          <a:xfrm>
            <a:off x="7175120" y="3933056"/>
            <a:ext cx="766800" cy="76680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800" b="1" dirty="0">
                <a:solidFill>
                  <a:schemeClr val="bg1"/>
                </a:solidFill>
                <a:cs typeface="EnBW DIN Pro"/>
              </a:rPr>
              <a:t>0,7</a:t>
            </a:r>
            <a:endParaRPr lang="de-DE" sz="28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B8F7BBB-0B25-4620-887C-73274CF7CAD8}"/>
              </a:ext>
            </a:extLst>
          </p:cNvPr>
          <p:cNvSpPr txBox="1"/>
          <p:nvPr/>
        </p:nvSpPr>
        <p:spPr>
          <a:xfrm>
            <a:off x="6975508" y="1844824"/>
            <a:ext cx="1166025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86440" algn="ctr"/>
            <a:r>
              <a:rPr lang="de-DE" i="0" u="none" strike="noStrike" baseline="0" dirty="0">
                <a:solidFill>
                  <a:schemeClr val="bg2"/>
                </a:solidFill>
                <a:latin typeface="+mj-lt"/>
              </a:rPr>
              <a:t>Ziel 2020</a:t>
            </a:r>
            <a:endParaRPr lang="de-DE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8FD661F-3A55-48E3-81BD-2CBE173B1586}"/>
              </a:ext>
            </a:extLst>
          </p:cNvPr>
          <p:cNvSpPr txBox="1"/>
          <p:nvPr/>
        </p:nvSpPr>
        <p:spPr>
          <a:xfrm>
            <a:off x="4059687" y="1844824"/>
            <a:ext cx="1065356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100740" algn="ctr"/>
            <a:r>
              <a:rPr lang="de-DE" i="0" u="none" strike="noStrike" baseline="0" dirty="0">
                <a:solidFill>
                  <a:schemeClr val="tx2"/>
                </a:solidFill>
                <a:latin typeface="+mj-lt"/>
              </a:rPr>
              <a:t>Ist 2020</a:t>
            </a:r>
            <a:endParaRPr lang="de-DE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B4D021D6-8F65-4CA7-AB1B-2271C989565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</a:t>
            </a:r>
            <a:r>
              <a:rPr lang="de-DE" sz="1000" spc="10" dirty="0" err="1">
                <a:cs typeface="EnBW DIN Pro"/>
              </a:rPr>
              <a:t>A</a:t>
            </a:r>
            <a:r>
              <a:rPr lang="de-DE" sz="1000" spc="-10" dirty="0" err="1">
                <a:cs typeface="EnBW DIN Pro"/>
              </a:rPr>
              <a:t>d</a:t>
            </a:r>
            <a:r>
              <a:rPr lang="de-DE" sz="1000" spc="5" dirty="0" err="1">
                <a:cs typeface="EnBW DIN Pro"/>
              </a:rPr>
              <a:t>j</a:t>
            </a:r>
            <a:r>
              <a:rPr lang="de-DE" sz="1000" spc="-5" dirty="0" err="1">
                <a:cs typeface="EnBW DIN Pro"/>
              </a:rPr>
              <a:t>u</a:t>
            </a:r>
            <a:r>
              <a:rPr lang="de-DE" sz="1000" spc="-20" dirty="0" err="1">
                <a:cs typeface="EnBW DIN Pro"/>
              </a:rPr>
              <a:t>s</a:t>
            </a:r>
            <a:r>
              <a:rPr lang="de-DE" sz="1000" spc="5" dirty="0" err="1">
                <a:cs typeface="EnBW DIN Pro"/>
              </a:rPr>
              <a:t>t</a:t>
            </a:r>
            <a:r>
              <a:rPr lang="de-DE" sz="1000" spc="10" dirty="0" err="1">
                <a:cs typeface="EnBW DIN Pro"/>
              </a:rPr>
              <a:t>e</a:t>
            </a:r>
            <a:r>
              <a:rPr lang="de-DE" sz="1000" dirty="0" err="1">
                <a:cs typeface="EnBW DIN Pro"/>
              </a:rPr>
              <a:t>d</a:t>
            </a:r>
            <a:r>
              <a:rPr lang="de-DE" sz="1000" spc="-20" dirty="0">
                <a:cs typeface="EnBW DIN Pro"/>
              </a:rPr>
              <a:t> </a:t>
            </a:r>
            <a:r>
              <a:rPr lang="de-DE" sz="1000" dirty="0">
                <a:cs typeface="EnBW DIN Pro"/>
              </a:rPr>
              <a:t>E</a:t>
            </a:r>
            <a:r>
              <a:rPr lang="de-DE" sz="1000" spc="-10" dirty="0">
                <a:cs typeface="EnBW DIN Pro"/>
              </a:rPr>
              <a:t>B</a:t>
            </a:r>
            <a:r>
              <a:rPr lang="de-DE" sz="1000" spc="-5" dirty="0">
                <a:cs typeface="EnBW DIN Pro"/>
              </a:rPr>
              <a:t>I</a:t>
            </a:r>
            <a:r>
              <a:rPr lang="de-DE" sz="1000" spc="-10" dirty="0">
                <a:cs typeface="EnBW DIN Pro"/>
              </a:rPr>
              <a:t>T</a:t>
            </a:r>
            <a:r>
              <a:rPr lang="de-DE" sz="1000" spc="-20" dirty="0">
                <a:cs typeface="EnBW DIN Pro"/>
              </a:rPr>
              <a:t>D</a:t>
            </a:r>
            <a:r>
              <a:rPr lang="de-DE" sz="1000" dirty="0">
                <a:cs typeface="EnBW DIN Pro"/>
              </a:rPr>
              <a:t>A</a:t>
            </a:r>
            <a:endParaRPr lang="de-DE" sz="1000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75C0401-5843-4FAC-9F78-D360E0B70CE6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43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2ECA46A-43B7-47C9-B70D-6FD0FA740CC0}"/>
              </a:ext>
            </a:extLst>
          </p:cNvPr>
          <p:cNvCxnSpPr>
            <a:cxnSpLocks/>
          </p:cNvCxnSpPr>
          <p:nvPr/>
        </p:nvCxnSpPr>
        <p:spPr>
          <a:xfrm flipV="1">
            <a:off x="5231904" y="4509120"/>
            <a:ext cx="1656184" cy="25202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1A06AFB-BC8E-4F49-B5D8-70E5B275AC00}"/>
              </a:ext>
            </a:extLst>
          </p:cNvPr>
          <p:cNvCxnSpPr>
            <a:cxnSpLocks/>
          </p:cNvCxnSpPr>
          <p:nvPr/>
        </p:nvCxnSpPr>
        <p:spPr>
          <a:xfrm flipV="1">
            <a:off x="5232400" y="5549900"/>
            <a:ext cx="1619250" cy="1905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>
            <a:extLst>
              <a:ext uri="{FF2B5EF4-FFF2-40B4-BE49-F238E27FC236}">
                <a16:creationId xmlns:a16="http://schemas.microsoft.com/office/drawing/2014/main" id="{54F8C7E0-F086-4BB0-BEE8-0E8C995F7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69" name="object 6">
            <a:extLst>
              <a:ext uri="{FF2B5EF4-FFF2-40B4-BE49-F238E27FC236}">
                <a16:creationId xmlns:a16="http://schemas.microsoft.com/office/drawing/2014/main" id="{5830EAB9-539F-4B78-B76B-928A97ED8844}"/>
              </a:ext>
            </a:extLst>
          </p:cNvPr>
          <p:cNvSpPr txBox="1"/>
          <p:nvPr/>
        </p:nvSpPr>
        <p:spPr>
          <a:xfrm>
            <a:off x="6383338" y="5913276"/>
            <a:ext cx="165687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b="0" dirty="0">
                <a:latin typeface="+mj-lt"/>
              </a:rPr>
              <a:t>3,2 Mrd. €</a:t>
            </a:r>
          </a:p>
        </p:txBody>
      </p:sp>
      <p:sp>
        <p:nvSpPr>
          <p:cNvPr id="70" name="object 7">
            <a:extLst>
              <a:ext uri="{FF2B5EF4-FFF2-40B4-BE49-F238E27FC236}">
                <a16:creationId xmlns:a16="http://schemas.microsoft.com/office/drawing/2014/main" id="{6F0DA418-FFDD-4F88-89B6-15C557302915}"/>
              </a:ext>
            </a:extLst>
          </p:cNvPr>
          <p:cNvSpPr txBox="1"/>
          <p:nvPr/>
        </p:nvSpPr>
        <p:spPr>
          <a:xfrm>
            <a:off x="4048639" y="5913276"/>
            <a:ext cx="175701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b="0" dirty="0">
                <a:latin typeface="+mj-lt"/>
              </a:rPr>
              <a:t>2,8 Mrd. €</a:t>
            </a:r>
          </a:p>
        </p:txBody>
      </p:sp>
      <p:sp>
        <p:nvSpPr>
          <p:cNvPr id="71" name="object 8">
            <a:extLst>
              <a:ext uri="{FF2B5EF4-FFF2-40B4-BE49-F238E27FC236}">
                <a16:creationId xmlns:a16="http://schemas.microsoft.com/office/drawing/2014/main" id="{08E17ED8-217C-48F1-B1BE-6885E8A7A842}"/>
              </a:ext>
            </a:extLst>
          </p:cNvPr>
          <p:cNvSpPr txBox="1"/>
          <p:nvPr/>
        </p:nvSpPr>
        <p:spPr>
          <a:xfrm>
            <a:off x="407368" y="5229200"/>
            <a:ext cx="1474763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>
            <a:defPPr>
              <a:defRPr lang="de-DE"/>
            </a:defPPr>
            <a:lvl1pPr marL="12700" algn="ctr">
              <a:spcBef>
                <a:spcPts val="100"/>
              </a:spcBef>
              <a:defRPr sz="2000" b="1">
                <a:cs typeface="EnBW DIN Pro Medium"/>
              </a:defRPr>
            </a:lvl1pPr>
          </a:lstStyle>
          <a:p>
            <a:r>
              <a:rPr sz="4400" b="0" dirty="0">
                <a:latin typeface="+mj-lt"/>
              </a:rPr>
              <a:t>2020</a:t>
            </a:r>
          </a:p>
        </p:txBody>
      </p:sp>
      <p:sp>
        <p:nvSpPr>
          <p:cNvPr id="74" name="object 9">
            <a:extLst>
              <a:ext uri="{FF2B5EF4-FFF2-40B4-BE49-F238E27FC236}">
                <a16:creationId xmlns:a16="http://schemas.microsoft.com/office/drawing/2014/main" id="{0B74C6B8-FBA3-425B-846B-77079A6EC5B4}"/>
              </a:ext>
            </a:extLst>
          </p:cNvPr>
          <p:cNvSpPr txBox="1"/>
          <p:nvPr/>
        </p:nvSpPr>
        <p:spPr>
          <a:xfrm>
            <a:off x="10380476" y="5229200"/>
            <a:ext cx="1402628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4400" dirty="0">
                <a:latin typeface="+mj-lt"/>
                <a:cs typeface="EnBW DIN Pro Medium"/>
              </a:rPr>
              <a:t>2025</a:t>
            </a:r>
          </a:p>
        </p:txBody>
      </p:sp>
      <p:sp>
        <p:nvSpPr>
          <p:cNvPr id="75" name="object 10">
            <a:extLst>
              <a:ext uri="{FF2B5EF4-FFF2-40B4-BE49-F238E27FC236}">
                <a16:creationId xmlns:a16="http://schemas.microsoft.com/office/drawing/2014/main" id="{184DAECB-88D2-4F72-99D7-5F0461F45581}"/>
              </a:ext>
            </a:extLst>
          </p:cNvPr>
          <p:cNvSpPr txBox="1"/>
          <p:nvPr/>
        </p:nvSpPr>
        <p:spPr>
          <a:xfrm>
            <a:off x="2135560" y="3133344"/>
            <a:ext cx="2350135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Vertriebe</a:t>
            </a:r>
            <a:endParaRPr sz="1600" dirty="0">
              <a:cs typeface="EnBW DIN Pro Medium"/>
            </a:endParaRPr>
          </a:p>
        </p:txBody>
      </p:sp>
      <p:sp>
        <p:nvSpPr>
          <p:cNvPr id="77" name="object 13">
            <a:extLst>
              <a:ext uri="{FF2B5EF4-FFF2-40B4-BE49-F238E27FC236}">
                <a16:creationId xmlns:a16="http://schemas.microsoft.com/office/drawing/2014/main" id="{7ABE0AF9-4B1F-4D79-9FD6-FE6EB483C562}"/>
              </a:ext>
            </a:extLst>
          </p:cNvPr>
          <p:cNvSpPr txBox="1"/>
          <p:nvPr/>
        </p:nvSpPr>
        <p:spPr>
          <a:xfrm>
            <a:off x="2135560" y="3593591"/>
            <a:ext cx="2353310" cy="255839"/>
          </a:xfrm>
          <a:prstGeom prst="rect">
            <a:avLst/>
          </a:prstGeom>
          <a:noFill/>
        </p:spPr>
        <p:txBody>
          <a:bodyPr vert="horz" wrap="square" lIns="0" tIns="9525" rIns="0" bIns="0" rtlCol="0" anchor="ctr" anchorCtr="0">
            <a:spAutoFit/>
          </a:bodyPr>
          <a:lstStyle/>
          <a:p>
            <a:pPr marL="107950" algn="r">
              <a:spcBef>
                <a:spcPts val="75"/>
              </a:spcBef>
            </a:pPr>
            <a:r>
              <a:rPr sz="1600" b="0" dirty="0">
                <a:cs typeface="EnBW DIN Pro Medium"/>
              </a:rPr>
              <a:t>Netze</a:t>
            </a:r>
            <a:endParaRPr sz="1600" dirty="0">
              <a:cs typeface="EnBW DIN Pro Medium"/>
            </a:endParaRPr>
          </a:p>
        </p:txBody>
      </p:sp>
      <p:sp>
        <p:nvSpPr>
          <p:cNvPr id="78" name="object 14">
            <a:extLst>
              <a:ext uri="{FF2B5EF4-FFF2-40B4-BE49-F238E27FC236}">
                <a16:creationId xmlns:a16="http://schemas.microsoft.com/office/drawing/2014/main" id="{3ABC0C4A-281B-4C37-870F-CA6736284726}"/>
              </a:ext>
            </a:extLst>
          </p:cNvPr>
          <p:cNvSpPr txBox="1"/>
          <p:nvPr/>
        </p:nvSpPr>
        <p:spPr>
          <a:xfrm>
            <a:off x="2135560" y="5562600"/>
            <a:ext cx="2353310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Erzeugung &amp; Handel</a:t>
            </a:r>
            <a:endParaRPr sz="1600" dirty="0">
              <a:cs typeface="EnBW DIN Pro Medium"/>
            </a:endParaRPr>
          </a:p>
        </p:txBody>
      </p:sp>
      <p:sp>
        <p:nvSpPr>
          <p:cNvPr id="79" name="object 15">
            <a:extLst>
              <a:ext uri="{FF2B5EF4-FFF2-40B4-BE49-F238E27FC236}">
                <a16:creationId xmlns:a16="http://schemas.microsoft.com/office/drawing/2014/main" id="{9A781391-8E20-4509-B6C2-BC821977D606}"/>
              </a:ext>
            </a:extLst>
          </p:cNvPr>
          <p:cNvSpPr txBox="1"/>
          <p:nvPr/>
        </p:nvSpPr>
        <p:spPr>
          <a:xfrm>
            <a:off x="2135560" y="4751832"/>
            <a:ext cx="2356485" cy="255198"/>
          </a:xfrm>
          <a:prstGeom prst="rect">
            <a:avLst/>
          </a:prstGeom>
          <a:noFill/>
        </p:spPr>
        <p:txBody>
          <a:bodyPr vert="horz" wrap="square" lIns="0" tIns="8890" rIns="0" bIns="0" rtlCol="0" anchor="ctr" anchorCtr="0">
            <a:spAutoFit/>
          </a:bodyPr>
          <a:lstStyle/>
          <a:p>
            <a:pPr marL="107950" algn="r">
              <a:spcBef>
                <a:spcPts val="70"/>
              </a:spcBef>
            </a:pPr>
            <a:r>
              <a:rPr sz="1600" b="0" dirty="0">
                <a:cs typeface="EnBW DIN Pro Medium"/>
              </a:rPr>
              <a:t>Erneuerbare Energien</a:t>
            </a:r>
            <a:endParaRPr sz="1600" dirty="0">
              <a:cs typeface="EnBW DIN Pro Medium"/>
            </a:endParaRPr>
          </a:p>
        </p:txBody>
      </p:sp>
      <p:sp>
        <p:nvSpPr>
          <p:cNvPr id="85" name="object 21">
            <a:extLst>
              <a:ext uri="{FF2B5EF4-FFF2-40B4-BE49-F238E27FC236}">
                <a16:creationId xmlns:a16="http://schemas.microsoft.com/office/drawing/2014/main" id="{2DFA3E32-7594-413E-9C9A-15F2A299740C}"/>
              </a:ext>
            </a:extLst>
          </p:cNvPr>
          <p:cNvSpPr/>
          <p:nvPr/>
        </p:nvSpPr>
        <p:spPr>
          <a:xfrm>
            <a:off x="4780788" y="5512302"/>
            <a:ext cx="1131570" cy="48895"/>
          </a:xfrm>
          <a:custGeom>
            <a:avLst/>
            <a:gdLst/>
            <a:ahLst/>
            <a:cxnLst/>
            <a:rect l="l" t="t" r="r" b="b"/>
            <a:pathLst>
              <a:path w="1131570" h="48895">
                <a:moveTo>
                  <a:pt x="0" y="48780"/>
                </a:moveTo>
                <a:lnTo>
                  <a:pt x="1131252" y="0"/>
                </a:lnTo>
              </a:path>
            </a:pathLst>
          </a:custGeom>
          <a:ln w="9525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86" name="object 22">
            <a:extLst>
              <a:ext uri="{FF2B5EF4-FFF2-40B4-BE49-F238E27FC236}">
                <a16:creationId xmlns:a16="http://schemas.microsoft.com/office/drawing/2014/main" id="{5F576C7E-65B2-49E3-BF66-84970D9C4E4B}"/>
              </a:ext>
            </a:extLst>
          </p:cNvPr>
          <p:cNvSpPr/>
          <p:nvPr/>
        </p:nvSpPr>
        <p:spPr>
          <a:xfrm>
            <a:off x="4349680" y="5916834"/>
            <a:ext cx="2981960" cy="5080"/>
          </a:xfrm>
          <a:custGeom>
            <a:avLst/>
            <a:gdLst/>
            <a:ahLst/>
            <a:cxnLst/>
            <a:rect l="l" t="t" r="r" b="b"/>
            <a:pathLst>
              <a:path w="2981959" h="5079">
                <a:moveTo>
                  <a:pt x="0" y="0"/>
                </a:moveTo>
                <a:lnTo>
                  <a:pt x="2981845" y="0"/>
                </a:lnTo>
              </a:path>
              <a:path w="2981959" h="5079">
                <a:moveTo>
                  <a:pt x="0" y="4762"/>
                </a:moveTo>
                <a:lnTo>
                  <a:pt x="2981845" y="4762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91" name="object 26">
            <a:extLst>
              <a:ext uri="{FF2B5EF4-FFF2-40B4-BE49-F238E27FC236}">
                <a16:creationId xmlns:a16="http://schemas.microsoft.com/office/drawing/2014/main" id="{48EF27DB-47B0-41F6-93AA-801C395B1E5C}"/>
              </a:ext>
            </a:extLst>
          </p:cNvPr>
          <p:cNvSpPr txBox="1"/>
          <p:nvPr/>
        </p:nvSpPr>
        <p:spPr>
          <a:xfrm>
            <a:off x="7750800" y="4450073"/>
            <a:ext cx="2656689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Nachhaltige</a:t>
            </a:r>
            <a:r>
              <a:rPr dirty="0">
                <a:cs typeface="EnBW DIN Pro Medium"/>
              </a:rPr>
              <a:t> </a:t>
            </a:r>
            <a:r>
              <a:rPr lang="de-DE" dirty="0">
                <a:cs typeface="EnBW DIN Pro Medium"/>
              </a:rPr>
              <a:t>E</a:t>
            </a:r>
            <a:r>
              <a:rPr dirty="0" err="1">
                <a:cs typeface="EnBW DIN Pro Medium"/>
              </a:rPr>
              <a:t>rzeugungs</a:t>
            </a:r>
            <a:r>
              <a:rPr lang="de-DE" dirty="0">
                <a:cs typeface="EnBW DIN Pro Medium"/>
              </a:rPr>
              <a:t>-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endParaRPr dirty="0">
              <a:cs typeface="EnBW DIN Pro Medium"/>
            </a:endParaRPr>
          </a:p>
        </p:txBody>
      </p:sp>
      <p:sp>
        <p:nvSpPr>
          <p:cNvPr id="92" name="object 27">
            <a:extLst>
              <a:ext uri="{FF2B5EF4-FFF2-40B4-BE49-F238E27FC236}">
                <a16:creationId xmlns:a16="http://schemas.microsoft.com/office/drawing/2014/main" id="{9504240F-CECE-4D7B-B0E9-DAD99672B77D}"/>
              </a:ext>
            </a:extLst>
          </p:cNvPr>
          <p:cNvSpPr txBox="1"/>
          <p:nvPr/>
        </p:nvSpPr>
        <p:spPr>
          <a:xfrm>
            <a:off x="7750800" y="2348880"/>
            <a:ext cx="2736134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>
                <a:cs typeface="EnBW DIN Pro Medium"/>
              </a:rPr>
              <a:t>Intelligente </a:t>
            </a:r>
            <a:r>
              <a:rPr dirty="0" err="1">
                <a:cs typeface="EnBW DIN Pro Medium"/>
              </a:rPr>
              <a:t>Infrastruktur</a:t>
            </a:r>
            <a:r>
              <a:rPr dirty="0">
                <a:cs typeface="EnBW DIN Pro Medium"/>
              </a:rPr>
              <a:t> 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für</a:t>
            </a:r>
            <a:r>
              <a:rPr dirty="0">
                <a:cs typeface="EnBW DIN Pro Medium"/>
              </a:rPr>
              <a:t> Kund*innen</a:t>
            </a:r>
          </a:p>
        </p:txBody>
      </p:sp>
      <p:graphicFrame>
        <p:nvGraphicFramePr>
          <p:cNvPr id="93" name="object 28">
            <a:extLst>
              <a:ext uri="{FF2B5EF4-FFF2-40B4-BE49-F238E27FC236}">
                <a16:creationId xmlns:a16="http://schemas.microsoft.com/office/drawing/2014/main" id="{E4475DB1-D628-4A70-9763-A2BE662DF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495103"/>
              </p:ext>
            </p:extLst>
          </p:nvPr>
        </p:nvGraphicFramePr>
        <p:xfrm>
          <a:off x="4613141" y="3134867"/>
          <a:ext cx="628015" cy="2781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8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16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63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195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02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8F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0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4" name="object 29">
            <a:extLst>
              <a:ext uri="{FF2B5EF4-FFF2-40B4-BE49-F238E27FC236}">
                <a16:creationId xmlns:a16="http://schemas.microsoft.com/office/drawing/2014/main" id="{1B7798A4-DBB4-4205-A9D5-C021A4B69FF7}"/>
              </a:ext>
            </a:extLst>
          </p:cNvPr>
          <p:cNvSpPr txBox="1"/>
          <p:nvPr/>
        </p:nvSpPr>
        <p:spPr>
          <a:xfrm>
            <a:off x="7750800" y="3399476"/>
            <a:ext cx="1717778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Systemkritische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r>
              <a:rPr lang="de-DE" dirty="0">
                <a:cs typeface="EnBW DIN Pro Medium"/>
              </a:rPr>
              <a:t>21,5</a:t>
            </a:r>
            <a:endParaRPr dirty="0">
              <a:cs typeface="EnBW DIN Pro Medium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58320B4-E977-47AE-BCDA-ECEA868AA0D5}"/>
              </a:ext>
            </a:extLst>
          </p:cNvPr>
          <p:cNvSpPr/>
          <p:nvPr/>
        </p:nvSpPr>
        <p:spPr>
          <a:xfrm>
            <a:off x="6888088" y="4509120"/>
            <a:ext cx="648072" cy="140415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100000"/>
              </a:lnSpc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1,3</a:t>
            </a:r>
            <a:endParaRPr lang="de-DE" dirty="0">
              <a:cs typeface="EnBW DIN Pro"/>
            </a:endParaRPr>
          </a:p>
          <a:p>
            <a:pPr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4F1BAE53-E96D-45E2-BE69-19E59C4CA7F3}"/>
              </a:ext>
            </a:extLst>
          </p:cNvPr>
          <p:cNvSpPr/>
          <p:nvPr/>
        </p:nvSpPr>
        <p:spPr>
          <a:xfrm>
            <a:off x="6888088" y="3068960"/>
            <a:ext cx="648072" cy="1440160"/>
          </a:xfrm>
          <a:prstGeom prst="rect">
            <a:avLst/>
          </a:prstGeom>
          <a:solidFill>
            <a:srgbClr val="FE8F1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18288" algn="ctr" rtl="0" eaLnBrk="1" fontAlgn="t" latinLnBrk="0" hangingPunct="1">
              <a:spcBef>
                <a:spcPts val="885"/>
              </a:spcBef>
              <a:spcAft>
                <a:spcPts val="0"/>
              </a:spcAft>
            </a:pPr>
            <a:r>
              <a:rPr lang="de-DE" b="1" i="0" u="none" strike="noStrike" kern="1200" dirty="0">
                <a:solidFill>
                  <a:schemeClr val="bg1"/>
                </a:solidFill>
                <a:effectLst/>
                <a:cs typeface="EnBW DIN Pro" panose="020B0504020101020102" pitchFamily="34" charset="0"/>
              </a:rPr>
              <a:t>1,3</a:t>
            </a:r>
            <a:endParaRPr lang="de-DE" b="0" i="0" u="none" strike="noStrike" dirty="0">
              <a:solidFill>
                <a:schemeClr val="bg1"/>
              </a:solidFill>
              <a:effectLst/>
            </a:endParaRPr>
          </a:p>
          <a:p>
            <a:pPr marL="18288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strike="noStrike" kern="1200" dirty="0">
                <a:solidFill>
                  <a:schemeClr val="bg1"/>
                </a:solidFill>
                <a:effectLst/>
                <a:cs typeface="EnBW DIN Pro" panose="020B0504020101020102" pitchFamily="34" charset="0"/>
              </a:rPr>
              <a:t>Mrd.</a:t>
            </a:r>
            <a:r>
              <a:rPr lang="de-DE" sz="1200" b="0" i="0" u="none" strike="noStrike" kern="1200" spc="-45" dirty="0">
                <a:solidFill>
                  <a:schemeClr val="bg1"/>
                </a:solidFill>
                <a:effectLst/>
                <a:cs typeface="EnBW DIN Pro" panose="020B0504020101020102" pitchFamily="34" charset="0"/>
              </a:rPr>
              <a:t> </a:t>
            </a:r>
            <a:r>
              <a:rPr lang="de-DE" sz="1200" b="0" i="0" u="none" strike="noStrike" kern="1200" dirty="0">
                <a:solidFill>
                  <a:schemeClr val="bg1"/>
                </a:solidFill>
                <a:effectLst/>
                <a:cs typeface="EnBW DIN Pro" panose="020B0504020101020102" pitchFamily="34" charset="0"/>
              </a:rPr>
              <a:t>€</a:t>
            </a:r>
            <a:endParaRPr lang="de-DE" sz="1200" b="0" i="0" u="none" strike="noStrike" dirty="0">
              <a:solidFill>
                <a:schemeClr val="bg1"/>
              </a:solidFill>
              <a:effectLst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F715B28-F067-4DD7-92FA-2374A911553F}"/>
              </a:ext>
            </a:extLst>
          </p:cNvPr>
          <p:cNvSpPr/>
          <p:nvPr/>
        </p:nvSpPr>
        <p:spPr>
          <a:xfrm>
            <a:off x="6888088" y="2420888"/>
            <a:ext cx="648072" cy="648072"/>
          </a:xfrm>
          <a:prstGeom prst="rect">
            <a:avLst/>
          </a:prstGeom>
          <a:solidFill>
            <a:srgbClr val="1195E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33020" algn="ctr">
              <a:lnSpc>
                <a:spcPct val="100000"/>
              </a:lnSpc>
              <a:spcBef>
                <a:spcPts val="1065"/>
              </a:spcBef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0,6</a:t>
            </a:r>
            <a:endParaRPr lang="de-DE" dirty="0">
              <a:cs typeface="EnBW DIN Pro"/>
            </a:endParaRPr>
          </a:p>
          <a:p>
            <a:pPr marL="33655"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D34322E-4577-4688-A758-E58A3A56E098}"/>
              </a:ext>
            </a:extLst>
          </p:cNvPr>
          <p:cNvCxnSpPr/>
          <p:nvPr/>
        </p:nvCxnSpPr>
        <p:spPr>
          <a:xfrm>
            <a:off x="6887394" y="5553236"/>
            <a:ext cx="64876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FFBAD6B-1C4A-43E9-B2BF-10BA32F478D8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74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71CA55-1DCB-4F5E-BDC8-5F151195D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, Texte und Stör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40B273-A920-432E-8DA2-88F9AEEE7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ADA52B-3433-4B86-9060-C2DF5E3D4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8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86E68D28-E532-43E0-A25E-5D86EEF0B3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921272"/>
              </p:ext>
            </p:extLst>
          </p:nvPr>
        </p:nvGraphicFramePr>
        <p:xfrm>
          <a:off x="3395663" y="2312876"/>
          <a:ext cx="8388350" cy="2249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A55FC8B5-4B2C-430D-B29A-E61E8C8EAF6C}"/>
              </a:ext>
            </a:extLst>
          </p:cNvPr>
          <p:cNvSpPr txBox="1">
            <a:spLocks/>
          </p:cNvSpPr>
          <p:nvPr/>
        </p:nvSpPr>
        <p:spPr>
          <a:xfrm>
            <a:off x="3395155" y="1844675"/>
            <a:ext cx="838885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8C8963-122B-4989-9A8C-74F3B85B65D9}"/>
              </a:ext>
            </a:extLst>
          </p:cNvPr>
          <p:cNvSpPr txBox="1">
            <a:spLocks/>
          </p:cNvSpPr>
          <p:nvPr/>
        </p:nvSpPr>
        <p:spPr>
          <a:xfrm>
            <a:off x="442913" y="1933575"/>
            <a:ext cx="2375884" cy="2611548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Hier steht eine Kernaussage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ipsum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amet</a:t>
            </a:r>
            <a:endParaRPr lang="de-DE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DF3906A-E34D-4F3F-A9B0-6744247F30B3}"/>
              </a:ext>
            </a:extLst>
          </p:cNvPr>
          <p:cNvCxnSpPr>
            <a:cxnSpLocks/>
          </p:cNvCxnSpPr>
          <p:nvPr/>
        </p:nvCxnSpPr>
        <p:spPr>
          <a:xfrm flipH="1">
            <a:off x="406798" y="4725144"/>
            <a:ext cx="1137721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848A23A-3B80-4A96-A252-F1E9FAB97AE2}"/>
              </a:ext>
            </a:extLst>
          </p:cNvPr>
          <p:cNvSpPr txBox="1">
            <a:spLocks/>
          </p:cNvSpPr>
          <p:nvPr/>
        </p:nvSpPr>
        <p:spPr>
          <a:xfrm>
            <a:off x="638351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8007A115-235C-4286-B688-44CD35C69D76}"/>
              </a:ext>
            </a:extLst>
          </p:cNvPr>
          <p:cNvSpPr txBox="1">
            <a:spLocks/>
          </p:cNvSpPr>
          <p:nvPr/>
        </p:nvSpPr>
        <p:spPr>
          <a:xfrm>
            <a:off x="40729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18D1298-DC0F-488F-BAC5-CD4FAED00B54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E2D6A88-0B7C-4777-800F-29ACAEBD06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988" y="1901527"/>
            <a:ext cx="879401" cy="87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6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F4932-EF80-41FB-8011-6E2BE8A62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8F6E5F-2104-4CE7-ACCC-21CA7DE5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BA2081-9A79-4F67-BD9C-49D91CD7F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E130F3CA-313F-4A48-8AC4-EEBD558365FE}"/>
              </a:ext>
            </a:extLst>
          </p:cNvPr>
          <p:cNvSpPr txBox="1">
            <a:spLocks/>
          </p:cNvSpPr>
          <p:nvPr/>
        </p:nvSpPr>
        <p:spPr>
          <a:xfrm>
            <a:off x="4439815" y="4231008"/>
            <a:ext cx="7309273" cy="179028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Key messages</a:t>
            </a:r>
          </a:p>
          <a:p>
            <a:pPr lvl="2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r>
              <a:rPr lang="en-US" dirty="0"/>
              <a:t> et </a:t>
            </a:r>
            <a:r>
              <a:rPr lang="en-US" dirty="0" err="1"/>
              <a:t>magnis</a:t>
            </a:r>
            <a:r>
              <a:rPr lang="en-US" dirty="0"/>
              <a:t> dis parturient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A90AE09-AF09-4CFF-A755-91C7A74621D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  <a:p>
            <a:pPr lvl="1">
              <a:spcAft>
                <a:spcPts val="0"/>
              </a:spcAft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3802A38-00D8-4AB5-A03A-6A4B1905A197}"/>
              </a:ext>
            </a:extLst>
          </p:cNvPr>
          <p:cNvSpPr txBox="1">
            <a:spLocks/>
          </p:cNvSpPr>
          <p:nvPr/>
        </p:nvSpPr>
        <p:spPr>
          <a:xfrm>
            <a:off x="407368" y="4329100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E06D933-B9B3-4437-968A-62AACBD20138}"/>
              </a:ext>
            </a:extLst>
          </p:cNvPr>
          <p:cNvSpPr txBox="1">
            <a:spLocks/>
          </p:cNvSpPr>
          <p:nvPr/>
        </p:nvSpPr>
        <p:spPr>
          <a:xfrm>
            <a:off x="6383957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  <a:p>
            <a:pPr lvl="1">
              <a:spcAft>
                <a:spcPts val="0"/>
              </a:spcAft>
            </a:pPr>
            <a:r>
              <a:rPr lang="de-DE" sz="1400" dirty="0" err="1"/>
              <a:t>Lorem</a:t>
            </a:r>
            <a:r>
              <a:rPr lang="de-DE" sz="1400" dirty="0"/>
              <a:t> </a:t>
            </a:r>
            <a:r>
              <a:rPr lang="de-DE" sz="1400" dirty="0" err="1"/>
              <a:t>ipsum</a:t>
            </a:r>
            <a:endParaRPr lang="de-DE" sz="1400" dirty="0"/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037E0A91-44F0-4CAF-B9CD-18FA42893D1E}"/>
              </a:ext>
            </a:extLst>
          </p:cNvPr>
          <p:cNvGraphicFramePr/>
          <p:nvPr/>
        </p:nvGraphicFramePr>
        <p:xfrm>
          <a:off x="407368" y="4820505"/>
          <a:ext cx="3703441" cy="1530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A6837B18-90BF-4B36-9057-5B501EC3A36A}"/>
              </a:ext>
            </a:extLst>
          </p:cNvPr>
          <p:cNvGraphicFramePr/>
          <p:nvPr/>
        </p:nvGraphicFramePr>
        <p:xfrm>
          <a:off x="6383339" y="2369916"/>
          <a:ext cx="3169044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FD69043B-2993-4601-BEB8-9D9598BBB340}"/>
              </a:ext>
            </a:extLst>
          </p:cNvPr>
          <p:cNvGraphicFramePr/>
          <p:nvPr/>
        </p:nvGraphicFramePr>
        <p:xfrm>
          <a:off x="407368" y="2369916"/>
          <a:ext cx="3703441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Tabelle 19">
            <a:extLst>
              <a:ext uri="{FF2B5EF4-FFF2-40B4-BE49-F238E27FC236}">
                <a16:creationId xmlns:a16="http://schemas.microsoft.com/office/drawing/2014/main" id="{DE8543FC-5DA0-4099-9528-0EF0A8D6DA4E}"/>
              </a:ext>
            </a:extLst>
          </p:cNvPr>
          <p:cNvGraphicFramePr>
            <a:graphicFrameLocks noGrp="1"/>
          </p:cNvGraphicFramePr>
          <p:nvPr/>
        </p:nvGraphicFramePr>
        <p:xfrm>
          <a:off x="9660395" y="2312986"/>
          <a:ext cx="2124239" cy="1317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9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34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6424">
                <a:tc>
                  <a:txBody>
                    <a:bodyPr/>
                    <a:lstStyle/>
                    <a:p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2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3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th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Win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797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un-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f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-riv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extfeld 16">
            <a:extLst>
              <a:ext uri="{FF2B5EF4-FFF2-40B4-BE49-F238E27FC236}">
                <a16:creationId xmlns:a16="http://schemas.microsoft.com/office/drawing/2014/main" id="{32C6B128-4174-4C3E-A62B-A5DFA418BA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95097" y="2060848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+3%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F9AA5CC-DD65-45E2-A62A-5E662D74C3A4}"/>
              </a:ext>
            </a:extLst>
          </p:cNvPr>
          <p:cNvCxnSpPr>
            <a:cxnSpLocks/>
          </p:cNvCxnSpPr>
          <p:nvPr/>
        </p:nvCxnSpPr>
        <p:spPr>
          <a:xfrm flipV="1">
            <a:off x="2871354" y="2282651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16">
            <a:extLst>
              <a:ext uri="{FF2B5EF4-FFF2-40B4-BE49-F238E27FC236}">
                <a16:creationId xmlns:a16="http://schemas.microsoft.com/office/drawing/2014/main" id="{7D9EC6EB-7CBB-450B-B831-D6C7FD4142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15387" y="4534525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-9%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DCF039F-72C3-45C6-8C64-02E0780FECE4}"/>
              </a:ext>
            </a:extLst>
          </p:cNvPr>
          <p:cNvCxnSpPr>
            <a:cxnSpLocks/>
          </p:cNvCxnSpPr>
          <p:nvPr/>
        </p:nvCxnSpPr>
        <p:spPr>
          <a:xfrm>
            <a:off x="2891644" y="4730923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037EB784-7781-4442-A1AC-8DD715DBF67E}"/>
              </a:ext>
            </a:extLst>
          </p:cNvPr>
          <p:cNvSpPr/>
          <p:nvPr/>
        </p:nvSpPr>
        <p:spPr bwMode="gray">
          <a:xfrm>
            <a:off x="4259801" y="2690808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Lorem ipsum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2841A2B-9EEB-4C9A-B804-1E95F2E3BD18}"/>
              </a:ext>
            </a:extLst>
          </p:cNvPr>
          <p:cNvSpPr/>
          <p:nvPr/>
        </p:nvSpPr>
        <p:spPr bwMode="gray">
          <a:xfrm>
            <a:off x="4259801" y="3147666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Lorem ipsum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A85CD4C2-A422-4510-9447-FF7CC01FEE3D}"/>
              </a:ext>
            </a:extLst>
          </p:cNvPr>
          <p:cNvSpPr>
            <a:spLocks/>
          </p:cNvSpPr>
          <p:nvPr/>
        </p:nvSpPr>
        <p:spPr bwMode="auto">
          <a:xfrm flipH="1">
            <a:off x="3943504" y="2684110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AAE97A12-053B-4672-AED7-AFDBC8A4B64A}"/>
              </a:ext>
            </a:extLst>
          </p:cNvPr>
          <p:cNvSpPr>
            <a:spLocks/>
          </p:cNvSpPr>
          <p:nvPr/>
        </p:nvSpPr>
        <p:spPr bwMode="auto">
          <a:xfrm flipH="1">
            <a:off x="3943504" y="3140968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603F88E-64B3-48D5-95EC-9A38DD8008F9}"/>
              </a:ext>
            </a:extLst>
          </p:cNvPr>
          <p:cNvCxnSpPr>
            <a:cxnSpLocks/>
          </p:cNvCxnSpPr>
          <p:nvPr/>
        </p:nvCxnSpPr>
        <p:spPr>
          <a:xfrm>
            <a:off x="407368" y="3630055"/>
            <a:ext cx="1137664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23AC71BF-C101-48BA-BCD6-D97F2758E887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235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0601" y="2348880"/>
            <a:ext cx="6983412" cy="2700300"/>
          </a:xfrm>
        </p:spPr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0600" y="6201308"/>
            <a:ext cx="4931299" cy="288000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15" name="Bildplatzhalter 14" descr="Ein Bild, das Person, Menschliches Gesicht, Kleidung, Mann enthält.&#10;&#10;Automatisch generierte Beschreibung">
            <a:extLst>
              <a:ext uri="{FF2B5EF4-FFF2-40B4-BE49-F238E27FC236}">
                <a16:creationId xmlns:a16="http://schemas.microsoft.com/office/drawing/2014/main" id="{0678CEBF-1B89-8881-7951-0FE1E78175A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989" y="3140968"/>
            <a:ext cx="3312369" cy="3312369"/>
          </a:xfrm>
        </p:spPr>
      </p:pic>
    </p:spTree>
    <p:extLst>
      <p:ext uri="{BB962C8B-B14F-4D97-AF65-F5344CB8AC3E}">
        <p14:creationId xmlns:p14="http://schemas.microsoft.com/office/powerpoint/2010/main" val="127770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0256D4D-5D54-4D84-8E46-BA8352A3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BEC5940-52AE-4C01-A9B7-84CAC6EA9021}"/>
              </a:ext>
            </a:extLst>
          </p:cNvPr>
          <p:cNvGrpSpPr/>
          <p:nvPr/>
        </p:nvGrpSpPr>
        <p:grpSpPr>
          <a:xfrm>
            <a:off x="407368" y="3768689"/>
            <a:ext cx="8568952" cy="1008000"/>
            <a:chOff x="407368" y="3768689"/>
            <a:chExt cx="8134735" cy="1008000"/>
          </a:xfrm>
        </p:grpSpPr>
        <p:sp>
          <p:nvSpPr>
            <p:cNvPr id="15" name="Eingekerbter Richtungspfeil 16">
              <a:extLst>
                <a:ext uri="{FF2B5EF4-FFF2-40B4-BE49-F238E27FC236}">
                  <a16:creationId xmlns:a16="http://schemas.microsoft.com/office/drawing/2014/main" id="{443AE7A6-DCF8-4DFD-8769-3D10BD7DABD2}"/>
                </a:ext>
              </a:extLst>
            </p:cNvPr>
            <p:cNvSpPr/>
            <p:nvPr/>
          </p:nvSpPr>
          <p:spPr bwMode="auto">
            <a:xfrm>
              <a:off x="3057927" y="3768689"/>
              <a:ext cx="2972685" cy="1008000"/>
            </a:xfrm>
            <a:prstGeom prst="chevron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92000" tIns="35991" rIns="0" bIns="35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latin typeface="+mj-lt"/>
                </a:rPr>
                <a:t>Lorem</a:t>
              </a:r>
              <a:r>
                <a:rPr lang="de-DE" sz="1600" dirty="0">
                  <a:latin typeface="+mj-lt"/>
                </a:rPr>
                <a:t> </a:t>
              </a:r>
              <a:r>
                <a:rPr lang="de-DE" sz="1600" dirty="0" err="1"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6" name="Richtungspfeil 19">
              <a:extLst>
                <a:ext uri="{FF2B5EF4-FFF2-40B4-BE49-F238E27FC236}">
                  <a16:creationId xmlns:a16="http://schemas.microsoft.com/office/drawing/2014/main" id="{8877BB4B-69BB-4381-B56E-01CE31959F0F}"/>
                </a:ext>
              </a:extLst>
            </p:cNvPr>
            <p:cNvSpPr/>
            <p:nvPr/>
          </p:nvSpPr>
          <p:spPr bwMode="auto">
            <a:xfrm>
              <a:off x="407368" y="3768689"/>
              <a:ext cx="2848054" cy="1008000"/>
            </a:xfrm>
            <a:prstGeom prst="homePlate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0" tIns="35991" rIns="0" bIns="35991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de-DE" sz="1600" dirty="0" err="1">
                  <a:latin typeface="+mj-lt"/>
                </a:rPr>
                <a:t>Lorem</a:t>
              </a:r>
              <a:r>
                <a:rPr lang="de-DE" sz="1600" dirty="0">
                  <a:latin typeface="+mj-lt"/>
                </a:rPr>
                <a:t> </a:t>
              </a:r>
              <a:r>
                <a:rPr lang="de-DE" sz="1600" dirty="0" err="1"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7" name="Eingekerbter Richtungspfeil 20">
              <a:extLst>
                <a:ext uri="{FF2B5EF4-FFF2-40B4-BE49-F238E27FC236}">
                  <a16:creationId xmlns:a16="http://schemas.microsoft.com/office/drawing/2014/main" id="{5DE700CF-2A32-4079-B17C-EF79BD6ED92A}"/>
                </a:ext>
              </a:extLst>
            </p:cNvPr>
            <p:cNvSpPr/>
            <p:nvPr/>
          </p:nvSpPr>
          <p:spPr bwMode="auto">
            <a:xfrm>
              <a:off x="5833116" y="3768689"/>
              <a:ext cx="2708987" cy="1008000"/>
            </a:xfrm>
            <a:prstGeom prst="chevron">
              <a:avLst>
                <a:gd name="adj" fmla="val 27425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12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Lorem</a:t>
              </a:r>
              <a:r>
                <a:rPr lang="de-DE" sz="1600" dirty="0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ipsum</a:t>
              </a:r>
              <a:b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</a:b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Intensive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process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of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consulation</a:t>
              </a:r>
              <a:endParaRPr lang="de-DE" sz="1600" dirty="0">
                <a:solidFill>
                  <a:schemeClr val="bg1"/>
                </a:solidFill>
                <a:cs typeface="EnBW DIN Pro"/>
                <a:sym typeface="EnBW DIN Pro"/>
              </a:endParaRPr>
            </a:p>
          </p:txBody>
        </p:sp>
      </p:grp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2712F40-4DA0-4CE0-8464-2B336D4B1C94}"/>
              </a:ext>
            </a:extLst>
          </p:cNvPr>
          <p:cNvSpPr txBox="1">
            <a:spLocks/>
          </p:cNvSpPr>
          <p:nvPr/>
        </p:nvSpPr>
        <p:spPr>
          <a:xfrm>
            <a:off x="9120956" y="3768690"/>
            <a:ext cx="2663058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5500" dirty="0">
                <a:solidFill>
                  <a:schemeClr val="tx1"/>
                </a:solidFill>
              </a:rPr>
              <a:t>+25,3%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0BF8B55-E4C2-4531-897A-AB8DC98FB4C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46BD53C-A99D-45C9-9C39-7822BC18537A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C164B53-05E2-450A-BD0A-580B70129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341D0357-47EE-4576-91C6-F1B4410AF1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48028" y="3948945"/>
            <a:ext cx="647488" cy="64748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4F9F062-37D5-9AED-E51B-E8C8FEB225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6000" y="3949200"/>
            <a:ext cx="648000" cy="648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C693842-8F87-B0C7-A347-709D9F2A54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38800" y="394920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3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057AF13-D06A-4437-B50B-FB9EEE713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sp>
        <p:nvSpPr>
          <p:cNvPr id="15" name="Eingekerbter Richtungspfeil 16">
            <a:extLst>
              <a:ext uri="{FF2B5EF4-FFF2-40B4-BE49-F238E27FC236}">
                <a16:creationId xmlns:a16="http://schemas.microsoft.com/office/drawing/2014/main" id="{443AE7A6-DCF8-4DFD-8769-3D10BD7DABD2}"/>
              </a:ext>
            </a:extLst>
          </p:cNvPr>
          <p:cNvSpPr/>
          <p:nvPr/>
        </p:nvSpPr>
        <p:spPr bwMode="auto">
          <a:xfrm>
            <a:off x="3879707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latin typeface="+mj-lt"/>
              </a:rPr>
              <a:t>Lore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6" name="Richtungspfeil 19">
            <a:extLst>
              <a:ext uri="{FF2B5EF4-FFF2-40B4-BE49-F238E27FC236}">
                <a16:creationId xmlns:a16="http://schemas.microsoft.com/office/drawing/2014/main" id="{8877BB4B-69BB-4381-B56E-01CE31959F0F}"/>
              </a:ext>
            </a:extLst>
          </p:cNvPr>
          <p:cNvSpPr/>
          <p:nvPr/>
        </p:nvSpPr>
        <p:spPr bwMode="auto">
          <a:xfrm>
            <a:off x="1307748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72000" bIns="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600" dirty="0" err="1">
                <a:latin typeface="+mj-lt"/>
              </a:rPr>
              <a:t>Lorem</a:t>
            </a:r>
            <a:r>
              <a:rPr lang="de-DE" sz="1600" dirty="0">
                <a:latin typeface="+mj-lt"/>
              </a:rPr>
              <a:t> </a:t>
            </a:r>
            <a:r>
              <a:rPr lang="de-DE" sz="1600" dirty="0" err="1"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7" name="Eingekerbter Richtungspfeil 20">
            <a:extLst>
              <a:ext uri="{FF2B5EF4-FFF2-40B4-BE49-F238E27FC236}">
                <a16:creationId xmlns:a16="http://schemas.microsoft.com/office/drawing/2014/main" id="{5DE700CF-2A32-4079-B17C-EF79BD6ED92A}"/>
              </a:ext>
            </a:extLst>
          </p:cNvPr>
          <p:cNvSpPr/>
          <p:nvPr/>
        </p:nvSpPr>
        <p:spPr bwMode="auto">
          <a:xfrm>
            <a:off x="6451666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10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latin typeface="+mj-lt"/>
                <a:cs typeface="EnBW DIN Pro"/>
                <a:sym typeface="EnBW DIN Pro"/>
              </a:rPr>
              <a:t>Lorem</a:t>
            </a:r>
            <a:r>
              <a:rPr lang="de-DE" sz="1600" dirty="0">
                <a:latin typeface="+mj-lt"/>
                <a:cs typeface="EnBW DIN Pro"/>
                <a:sym typeface="EnBW DIN Pro"/>
              </a:rPr>
              <a:t> </a:t>
            </a:r>
            <a:r>
              <a:rPr lang="de-DE" sz="1600" dirty="0" err="1">
                <a:latin typeface="+mj-lt"/>
                <a:cs typeface="EnBW DIN Pro"/>
                <a:sym typeface="EnBW DIN Pro"/>
              </a:rPr>
              <a:t>ipsum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>
                <a:cs typeface="EnBW DIN Pro"/>
                <a:sym typeface="EnBW DIN Pro"/>
              </a:rPr>
              <a:t>Intensive </a:t>
            </a:r>
            <a:r>
              <a:rPr lang="de-DE" sz="1600" dirty="0" err="1">
                <a:cs typeface="EnBW DIN Pro"/>
                <a:sym typeface="EnBW DIN Pro"/>
              </a:rPr>
              <a:t>process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of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 err="1">
                <a:cs typeface="EnBW DIN Pro"/>
                <a:sym typeface="EnBW DIN Pro"/>
              </a:rPr>
              <a:t>consulation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lasting</a:t>
            </a:r>
            <a:r>
              <a:rPr lang="de-DE" sz="1600" dirty="0">
                <a:cs typeface="EnBW DIN Pro"/>
                <a:sym typeface="EnBW DIN Pro"/>
              </a:rPr>
              <a:t>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90B5F67F-399E-40A4-971E-284C6DA5F286}"/>
              </a:ext>
            </a:extLst>
          </p:cNvPr>
          <p:cNvSpPr>
            <a:spLocks/>
          </p:cNvSpPr>
          <p:nvPr/>
        </p:nvSpPr>
        <p:spPr bwMode="auto">
          <a:xfrm>
            <a:off x="3467708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3033D41C-39B3-4995-9DB9-5A7EB0BDBAFC}"/>
              </a:ext>
            </a:extLst>
          </p:cNvPr>
          <p:cNvSpPr>
            <a:spLocks/>
          </p:cNvSpPr>
          <p:nvPr/>
        </p:nvSpPr>
        <p:spPr bwMode="auto">
          <a:xfrm>
            <a:off x="6039667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2EA90FE-0B6B-4BB3-BE3B-EAF4FA2271EE}"/>
              </a:ext>
            </a:extLst>
          </p:cNvPr>
          <p:cNvGrpSpPr/>
          <p:nvPr/>
        </p:nvGrpSpPr>
        <p:grpSpPr>
          <a:xfrm>
            <a:off x="407368" y="3760807"/>
            <a:ext cx="8280920" cy="1008112"/>
            <a:chOff x="407368" y="3753036"/>
            <a:chExt cx="8820770" cy="1008112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11DBBDCC-BABA-4217-A52B-BE64E23D3C67}"/>
                </a:ext>
              </a:extLst>
            </p:cNvPr>
            <p:cNvCxnSpPr/>
            <p:nvPr/>
          </p:nvCxnSpPr>
          <p:spPr>
            <a:xfrm flipV="1">
              <a:off x="407368" y="3753036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D1838A66-4330-42D6-8A6D-399451540DCA}"/>
                </a:ext>
              </a:extLst>
            </p:cNvPr>
            <p:cNvCxnSpPr/>
            <p:nvPr/>
          </p:nvCxnSpPr>
          <p:spPr>
            <a:xfrm flipV="1">
              <a:off x="407368" y="4761148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</p:grp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9BAF00F-C458-4F3B-A21F-9D578C2D0C6A}"/>
              </a:ext>
            </a:extLst>
          </p:cNvPr>
          <p:cNvSpPr txBox="1">
            <a:spLocks/>
          </p:cNvSpPr>
          <p:nvPr/>
        </p:nvSpPr>
        <p:spPr>
          <a:xfrm>
            <a:off x="8904312" y="3760863"/>
            <a:ext cx="2844316" cy="100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5500" dirty="0">
                <a:solidFill>
                  <a:schemeClr val="tx1"/>
                </a:solidFill>
              </a:rPr>
              <a:t>+25,3%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FD05BCB-E34B-428D-BE14-DA9524C6CD6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82C0CEE-4CE3-498B-A278-7919D1D56B57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2E5B127-FCF3-43B5-BD86-933E9F1B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55F660A3-A868-8B66-0C7D-ED824629C4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3825044"/>
            <a:ext cx="878400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0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323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43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1CE0C3-ED16-7F86-F825-4D5CCE88F2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404904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8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Person, Kleidung, Menschliches Gesicht, Fenster enthält.&#10;&#10;Automatisch generierte Beschreibung">
            <a:extLst>
              <a:ext uri="{FF2B5EF4-FFF2-40B4-BE49-F238E27FC236}">
                <a16:creationId xmlns:a16="http://schemas.microsoft.com/office/drawing/2014/main" id="{B3313A57-C8F7-F423-F5D0-ED6BC5DBF86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07" r="18599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5400675" cy="4429125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4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63C46CB-7C2D-9FA9-C94D-B6FCF71306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89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5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50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6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bg2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24922DA-32A5-A9A2-B047-571CD8F6C1A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00632" y="419801"/>
            <a:ext cx="1584000" cy="34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8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CC127F2-8FB2-4D13-96A9-4B9155FC0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81188"/>
            <a:ext cx="5399980" cy="4392612"/>
          </a:xfrm>
          <a:solidFill>
            <a:schemeClr val="accent1"/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Wasser | Stand Dezember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7</a:t>
            </a:fld>
            <a:endParaRPr lang="de-DE" noProof="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CB1AF88-17F7-4463-B0A7-2B3CF30615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E4EBE68-9614-4914-B9E9-801559EC19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68D0B97-934C-49E5-9EE8-5C3004FF644C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440E1C2-CF2F-4379-96DC-FECFD856B71A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12A3F2A-0039-4793-941C-132E97DCE3CA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  <a:endParaRPr lang="de-DE"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FFBAE5F-BAB1-4935-8886-FDB24B3DFCF0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029404F-207D-4FCA-8EDC-3155633BB925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B950565-523F-4E9F-A930-6668B23F53F6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E2CEA70D-28B4-489D-ADDB-3405A9108252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Erzeugung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&amp; Handel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27297EC5-1485-47EB-876F-CEF6BAAE3C27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  <a:endParaRPr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5DF80F8-BC2F-4793-8563-542C2FF1D4A5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CC12A210-F226-4448-839E-CBF03DA98C14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ECF75F37-4809-4CF6-9EBF-6A2AD625382F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7D0B3DD8-44DE-417C-B5E5-21E9599CD81C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822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A6D34CA-26DC-7915-1F7F-6D7CC99AEBF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Folienbibliothek Netze BW Wasser | Stand Dezember 2023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8</a:t>
            </a:fld>
            <a:endParaRPr lang="de-DE" noProof="0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1D96B093-58DE-678D-0F8F-26BECB6AFBC4}"/>
              </a:ext>
            </a:extLst>
          </p:cNvPr>
          <p:cNvSpPr txBox="1">
            <a:spLocks/>
          </p:cNvSpPr>
          <p:nvPr/>
        </p:nvSpPr>
        <p:spPr>
          <a:xfrm>
            <a:off x="6384032" y="1881188"/>
            <a:ext cx="5399980" cy="439261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5DC0164-ADF7-97B3-4C2C-AA3773E7F0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48DCA59-6491-2381-9248-570FCBF60D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9E821D5-4E5A-5577-9BE4-75390895A860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1"/>
                </a:solidFill>
                <a:latin typeface="+mj-lt"/>
              </a:rPr>
              <a:t>Nachhaltigkei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15C7F55-ACED-B754-4C8E-EB0C53195D87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6F09C615-E4F5-BE13-DD36-490FA7D012F3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  <a:endParaRPr lang="de-DE"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144F608-609E-B7CE-B43E-D53661D055CE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Infrastruktur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D2C20DC-C6A8-D9EF-9386-8F5C5FD047A7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4CDC28C-FBA4-366A-8216-FEA498522E45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D79438E2-46D6-B6C8-8DED-C929DF2E0880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>
                <a:solidFill>
                  <a:schemeClr val="tx1">
                    <a:lumMod val="25000"/>
                    <a:lumOff val="75000"/>
                  </a:schemeClr>
                </a:solidFill>
              </a:rPr>
              <a:t>Erzeugung</a:t>
            </a:r>
            <a:b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</a:br>
            <a:r>
              <a:rPr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&amp; Handel</a:t>
            </a:r>
          </a:p>
        </p:txBody>
      </p:sp>
      <p:sp>
        <p:nvSpPr>
          <p:cNvPr id="33" name="object 14">
            <a:extLst>
              <a:ext uri="{FF2B5EF4-FFF2-40B4-BE49-F238E27FC236}">
                <a16:creationId xmlns:a16="http://schemas.microsoft.com/office/drawing/2014/main" id="{15664104-A0E0-0CC5-7E25-391E96EACCF2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>
                <a:solidFill>
                  <a:schemeClr val="tx1">
                    <a:lumMod val="25000"/>
                    <a:lumOff val="75000"/>
                  </a:schemeClr>
                </a:solidFill>
              </a:rPr>
              <a:t>Vertrieb</a:t>
            </a:r>
            <a:endParaRPr sz="2800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BE23281-4EC1-32F4-F955-C2BB097B41FB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CF32C29C-6A43-D67C-CABE-46D2297098EF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7AD6EDA0-418F-474C-9354-AB5ACAAEF58B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8BE20717-A74E-480F-5C27-7F54B30B7992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17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5391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7" name="Bildplatzhalter 6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2DBD5DCD-EFBC-F561-20BE-8E988AFBBE3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5824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0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0555314"/>
              </p:ext>
            </p:extLst>
          </p:nvPr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86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4712660"/>
              </p:ext>
            </p:extLst>
          </p:nvPr>
        </p:nvGraphicFramePr>
        <p:xfrm>
          <a:off x="407989" y="1880828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622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4669567"/>
              </p:ext>
            </p:extLst>
          </p:nvPr>
        </p:nvGraphicFramePr>
        <p:xfrm>
          <a:off x="407989" y="1880828"/>
          <a:ext cx="540067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B295D4B5-A94B-FE2B-DD63-24AF3027D73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A3B239F2-FFAB-4EF2-EF2B-C17300E05C5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</a:t>
            </a:r>
          </a:p>
          <a:p>
            <a:pPr lvl="2"/>
            <a:r>
              <a:rPr lang="de-DE" dirty="0"/>
              <a:t>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52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125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3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8607683"/>
              </p:ext>
            </p:extLst>
          </p:nvPr>
        </p:nvGraphicFramePr>
        <p:xfrm>
          <a:off x="407989" y="2312876"/>
          <a:ext cx="7415209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20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6842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11376026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6418958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</p:spTree>
    <p:extLst>
      <p:ext uri="{BB962C8B-B14F-4D97-AF65-F5344CB8AC3E}">
        <p14:creationId xmlns:p14="http://schemas.microsoft.com/office/powerpoint/2010/main" val="512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7415411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403103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4943871" y="2312876"/>
            <a:ext cx="2914453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3B9A00B-AB2B-46C4-964D-3CFE9BC4B206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BF13B3E-E4E8-486E-98A0-17B9AA9D2A1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9644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57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7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564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9C06AD3-9638-46CC-84FA-90DA2E85AA7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B04538C-93E1-448D-8EA9-C7BEDF743B4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4306F54-2CD5-4618-AA0E-17A1E1847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034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8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6761671"/>
              </p:ext>
            </p:extLst>
          </p:nvPr>
        </p:nvGraphicFramePr>
        <p:xfrm>
          <a:off x="407987" y="2312988"/>
          <a:ext cx="7416801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5CF4A33-627F-4709-B980-187E3CEBA1B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BD3AE2C-8DCF-4609-9863-C2D15ED91BB7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551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9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1585654-00C9-409B-9701-88FC052C17B8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ED4333E-BC07-40F3-9763-FEA4D00DE780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CA867B7-D5F3-4AEB-B637-35008A2A3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984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0601" y="2348880"/>
            <a:ext cx="6983412" cy="2700300"/>
          </a:xfrm>
        </p:spPr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0601" y="6201308"/>
            <a:ext cx="4931804" cy="288000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8" name="Bildplatzhalter 7" descr="Ein Bild, das Person, Menschliches Gesicht, Kleidung, Lächeln enthält.&#10;&#10;Automatisch generierte Beschreibung">
            <a:extLst>
              <a:ext uri="{FF2B5EF4-FFF2-40B4-BE49-F238E27FC236}">
                <a16:creationId xmlns:a16="http://schemas.microsoft.com/office/drawing/2014/main" id="{4BBFEE3C-C527-42B0-807B-62C7A990FAA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4231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0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A5A145-D5D7-4D3F-AE7D-BB55A52C48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D06A61A-0E30-44AC-9048-C3B084D6124A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3564036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D5FF1EC-D447-4ACC-9564-4CF18772B09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50C218E-7652-4548-9823-46BFD195294F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8FEEAD8-C603-445E-9B92-42C73DF6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596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2371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2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1E44958-1509-4EE9-AC30-1B38D255A03D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59D8AF0-E52E-492D-B0E9-F7C614A1D1A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4852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3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0578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7415408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930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11376027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7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2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7704139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98FB83F5-17EA-48D1-91FF-6EEB166C6030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3D65E74-CD06-49D0-8636-4EA78E7FDCEB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252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7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C0E4FF9-64C3-40A0-ADF5-DBC28B2100B7}"/>
              </a:ext>
            </a:extLst>
          </p:cNvPr>
          <p:cNvSpPr txBox="1">
            <a:spLocks/>
          </p:cNvSpPr>
          <p:nvPr/>
        </p:nvSpPr>
        <p:spPr>
          <a:xfrm>
            <a:off x="6383338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15B9578-CC74-4E02-8DF2-63C08A6056C3}"/>
              </a:ext>
            </a:extLst>
          </p:cNvPr>
          <p:cNvSpPr txBox="1">
            <a:spLocks/>
          </p:cNvSpPr>
          <p:nvPr/>
        </p:nvSpPr>
        <p:spPr>
          <a:xfrm>
            <a:off x="407987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4131847"/>
              </p:ext>
            </p:extLst>
          </p:nvPr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275920"/>
              </p:ext>
            </p:extLst>
          </p:nvPr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4637E94-D21E-43F1-AF4D-79B663DB639A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0109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8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 |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ipsum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olor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endParaRPr lang="de-DE" dirty="0">
              <a:solidFill>
                <a:schemeClr val="tx1"/>
              </a:solidFill>
            </a:endParaRP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/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/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949FE9B-4A6E-38A6-6D1F-FADD0E9C5DB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03A6FDE-F1B2-6F4A-B75E-638D2E234938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FC7D158-2860-3C24-E976-E59CE7880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5F4A80-1747-F9A4-1F79-C246458F9F8B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33480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657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ell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137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11" name="Bildplatzhalter 10" descr="Ein Bild, das Person, Wand, Kleidung, Im Haus enthält.&#10;&#10;Automatisch generierte Beschreibung">
            <a:extLst>
              <a:ext uri="{FF2B5EF4-FFF2-40B4-BE49-F238E27FC236}">
                <a16:creationId xmlns:a16="http://schemas.microsoft.com/office/drawing/2014/main" id="{42D7BBDE-D842-5E73-BD03-A567C8D8F89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1743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abelle</a:t>
            </a:r>
            <a:r>
              <a:rPr lang="en-US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0ACA45-C53A-0E49-BFD3-B1B13855F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568DE56-70F2-1641-BAD1-65F99C680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0</a:t>
            </a:fld>
            <a:endParaRPr lang="en-GB" dirty="0"/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35AB7DDB-6682-4F10-8723-31C9CE596C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6764786"/>
              </p:ext>
            </p:extLst>
          </p:nvPr>
        </p:nvGraphicFramePr>
        <p:xfrm>
          <a:off x="407989" y="1844675"/>
          <a:ext cx="11376024" cy="4069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96004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Überschrif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spc="0" dirty="0" err="1">
                          <a:solidFill>
                            <a:schemeClr val="tx1"/>
                          </a:solidFill>
                          <a:latin typeface="+mn-lt"/>
                        </a:rPr>
                        <a:t>Beschreibung</a:t>
                      </a:r>
                      <a:endParaRPr lang="en-US" sz="1600" b="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714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stentabell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C8AB27-7ACB-B84E-B640-34A228CE1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7CA57D-0CD4-5540-862A-066B86D39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1</a:t>
            </a:fld>
            <a:endParaRPr lang="en-GB" dirty="0"/>
          </a:p>
        </p:txBody>
      </p:sp>
      <p:graphicFrame>
        <p:nvGraphicFramePr>
          <p:cNvPr id="11" name="Content Placeholder 7">
            <a:extLst>
              <a:ext uri="{FF2B5EF4-FFF2-40B4-BE49-F238E27FC236}">
                <a16:creationId xmlns:a16="http://schemas.microsoft.com/office/drawing/2014/main" id="{F82031D4-B34B-4DB6-822F-9F7EE9DFEC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8945402"/>
              </p:ext>
            </p:extLst>
          </p:nvPr>
        </p:nvGraphicFramePr>
        <p:xfrm>
          <a:off x="407987" y="1844675"/>
          <a:ext cx="11376025" cy="2806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008582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2367443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Erster</a:t>
                      </a:r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Zweiter</a:t>
                      </a:r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1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Total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cap="all" spc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0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067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e und</a:t>
            </a:r>
            <a:br>
              <a:rPr lang="de-DE" dirty="0"/>
            </a:br>
            <a:r>
              <a:rPr lang="de-DE" dirty="0"/>
              <a:t>Projektplä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96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3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188082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F58699E-5EEE-4AC6-BF62-D42EAD81DE29}"/>
              </a:ext>
            </a:extLst>
          </p:cNvPr>
          <p:cNvCxnSpPr>
            <a:cxnSpLocks/>
          </p:cNvCxnSpPr>
          <p:nvPr/>
        </p:nvCxnSpPr>
        <p:spPr>
          <a:xfrm>
            <a:off x="260996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E5FF8AE8-78B8-4477-9879-DBEBF0CFC7D9}"/>
              </a:ext>
            </a:extLst>
          </p:cNvPr>
          <p:cNvCxnSpPr>
            <a:cxnSpLocks/>
          </p:cNvCxnSpPr>
          <p:nvPr/>
        </p:nvCxnSpPr>
        <p:spPr>
          <a:xfrm>
            <a:off x="4876097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1AF5BD5-6908-43D7-AA83-88B8EF957A3C}"/>
              </a:ext>
            </a:extLst>
          </p:cNvPr>
          <p:cNvCxnSpPr>
            <a:cxnSpLocks/>
          </p:cNvCxnSpPr>
          <p:nvPr/>
        </p:nvCxnSpPr>
        <p:spPr>
          <a:xfrm>
            <a:off x="714223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1C37039-2C87-4FD6-9128-CC2E1AD42660}"/>
              </a:ext>
            </a:extLst>
          </p:cNvPr>
          <p:cNvCxnSpPr>
            <a:cxnSpLocks/>
          </p:cNvCxnSpPr>
          <p:nvPr/>
        </p:nvCxnSpPr>
        <p:spPr>
          <a:xfrm>
            <a:off x="9408368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2853304"/>
            <a:ext cx="212423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77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4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600189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833748-3746-42BC-8402-717BA988C30C}"/>
              </a:ext>
            </a:extLst>
          </p:cNvPr>
          <p:cNvGrpSpPr/>
          <p:nvPr/>
        </p:nvGrpSpPr>
        <p:grpSpPr>
          <a:xfrm>
            <a:off x="2609962" y="3320988"/>
            <a:ext cx="6798406" cy="2952316"/>
            <a:chOff x="2609962" y="2853304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320988"/>
            <a:ext cx="212423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AD7554E-C482-41C6-9C2B-D57F4B57AB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3871" y="1844824"/>
            <a:ext cx="698238" cy="69823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2AE7B00A-4671-4DC5-98D5-C4D453F466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12123" y="1844824"/>
            <a:ext cx="698238" cy="69823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BDB7A186-DEE2-4284-BADA-B2BD9F1CBF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80376" y="1844824"/>
            <a:ext cx="698238" cy="69823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D5FA401-F799-B80A-D747-E4A03E82FA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3352" y="1886846"/>
            <a:ext cx="698400" cy="698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A3DCFED-F9D6-D295-3E49-DF58FA7211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63887" y="1844824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39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5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85354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C80DD9A-9ABD-4604-B884-605CB84D9874}"/>
              </a:ext>
            </a:extLst>
          </p:cNvPr>
          <p:cNvGrpSpPr/>
          <p:nvPr/>
        </p:nvGrpSpPr>
        <p:grpSpPr>
          <a:xfrm>
            <a:off x="2609962" y="3537392"/>
            <a:ext cx="6798406" cy="2736408"/>
            <a:chOff x="2609962" y="3537392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537392"/>
            <a:ext cx="212423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B52350D-7408-4AB6-8A73-64C8061945B2}"/>
              </a:ext>
            </a:extLst>
          </p:cNvPr>
          <p:cNvSpPr/>
          <p:nvPr/>
        </p:nvSpPr>
        <p:spPr>
          <a:xfrm>
            <a:off x="1379367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93A09F3-D75F-4D69-B1C7-6FEA761462DB}"/>
              </a:ext>
            </a:extLst>
          </p:cNvPr>
          <p:cNvSpPr/>
          <p:nvPr/>
        </p:nvSpPr>
        <p:spPr>
          <a:xfrm>
            <a:off x="3647619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27B03AD-14DA-4754-8BAB-91F64F0042E3}"/>
              </a:ext>
            </a:extLst>
          </p:cNvPr>
          <p:cNvSpPr/>
          <p:nvPr/>
        </p:nvSpPr>
        <p:spPr>
          <a:xfrm>
            <a:off x="5915871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B8A82CD-0EA2-463B-921E-5A2F89C0BCAB}"/>
              </a:ext>
            </a:extLst>
          </p:cNvPr>
          <p:cNvSpPr/>
          <p:nvPr/>
        </p:nvSpPr>
        <p:spPr>
          <a:xfrm>
            <a:off x="8184123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896D542-E679-45D9-A5EB-D41225D9A003}"/>
              </a:ext>
            </a:extLst>
          </p:cNvPr>
          <p:cNvSpPr/>
          <p:nvPr/>
        </p:nvSpPr>
        <p:spPr>
          <a:xfrm>
            <a:off x="10452376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3809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7FC2F70C-C8A0-42CC-AD9F-C3F566314261}"/>
              </a:ext>
            </a:extLst>
          </p:cNvPr>
          <p:cNvSpPr/>
          <p:nvPr/>
        </p:nvSpPr>
        <p:spPr>
          <a:xfrm>
            <a:off x="5151288" y="3390065"/>
            <a:ext cx="2040087" cy="1368000"/>
          </a:xfrm>
          <a:custGeom>
            <a:avLst/>
            <a:gdLst>
              <a:gd name="connsiteX0" fmla="*/ 0 w 2040087"/>
              <a:gd name="connsiteY0" fmla="*/ 0 h 1368000"/>
              <a:gd name="connsiteX1" fmla="*/ 1865100 w 2040087"/>
              <a:gd name="connsiteY1" fmla="*/ 0 h 1368000"/>
              <a:gd name="connsiteX2" fmla="*/ 2040087 w 2040087"/>
              <a:gd name="connsiteY2" fmla="*/ 705685 h 1368000"/>
              <a:gd name="connsiteX3" fmla="*/ 1876659 w 2040087"/>
              <a:gd name="connsiteY3" fmla="*/ 1368000 h 1368000"/>
              <a:gd name="connsiteX4" fmla="*/ 12114 w 2040087"/>
              <a:gd name="connsiteY4" fmla="*/ 1368000 h 1368000"/>
              <a:gd name="connsiteX5" fmla="*/ 176362 w 2040087"/>
              <a:gd name="connsiteY5" fmla="*/ 70251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0087" h="1368000">
                <a:moveTo>
                  <a:pt x="0" y="0"/>
                </a:moveTo>
                <a:lnTo>
                  <a:pt x="1865100" y="0"/>
                </a:lnTo>
                <a:lnTo>
                  <a:pt x="2040087" y="705685"/>
                </a:lnTo>
                <a:lnTo>
                  <a:pt x="1876659" y="1368000"/>
                </a:lnTo>
                <a:lnTo>
                  <a:pt x="12114" y="1368000"/>
                </a:lnTo>
                <a:lnTo>
                  <a:pt x="176362" y="702510"/>
                </a:lnTo>
                <a:close/>
              </a:path>
            </a:pathLst>
          </a:custGeom>
          <a:solidFill>
            <a:schemeClr val="tx2"/>
          </a:solidFill>
          <a:ln w="762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6</a:t>
            </a:fld>
            <a:endParaRPr lang="de-DE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F9DCA395-F7EB-41C7-AACE-A55A7B7D9348}"/>
              </a:ext>
            </a:extLst>
          </p:cNvPr>
          <p:cNvSpPr/>
          <p:nvPr/>
        </p:nvSpPr>
        <p:spPr>
          <a:xfrm>
            <a:off x="442913" y="3395026"/>
            <a:ext cx="1995487" cy="1368000"/>
          </a:xfrm>
          <a:custGeom>
            <a:avLst/>
            <a:gdLst>
              <a:gd name="connsiteX0" fmla="*/ 0 w 2029526"/>
              <a:gd name="connsiteY0" fmla="*/ 0 h 1368000"/>
              <a:gd name="connsiteX1" fmla="*/ 1856148 w 2029526"/>
              <a:gd name="connsiteY1" fmla="*/ 0 h 1368000"/>
              <a:gd name="connsiteX2" fmla="*/ 2029526 w 2029526"/>
              <a:gd name="connsiteY2" fmla="*/ 690844 h 1368000"/>
              <a:gd name="connsiteX3" fmla="*/ 2029526 w 2029526"/>
              <a:gd name="connsiteY3" fmla="*/ 697989 h 1368000"/>
              <a:gd name="connsiteX4" fmla="*/ 1865282 w 2029526"/>
              <a:gd name="connsiteY4" fmla="*/ 1368000 h 1368000"/>
              <a:gd name="connsiteX5" fmla="*/ 0 w 2029526"/>
              <a:gd name="connsiteY5" fmla="*/ 136800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9526" h="1368000">
                <a:moveTo>
                  <a:pt x="0" y="0"/>
                </a:moveTo>
                <a:lnTo>
                  <a:pt x="1856148" y="0"/>
                </a:lnTo>
                <a:lnTo>
                  <a:pt x="2029526" y="690844"/>
                </a:lnTo>
                <a:lnTo>
                  <a:pt x="2029526" y="697989"/>
                </a:lnTo>
                <a:lnTo>
                  <a:pt x="1865282" y="1368000"/>
                </a:lnTo>
                <a:lnTo>
                  <a:pt x="0" y="1368000"/>
                </a:lnTo>
                <a:close/>
              </a:path>
            </a:pathLst>
          </a:cu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CEFB2A30-D782-424C-AD5C-2034B5E54E41}"/>
              </a:ext>
            </a:extLst>
          </p:cNvPr>
          <p:cNvSpPr/>
          <p:nvPr/>
        </p:nvSpPr>
        <p:spPr>
          <a:xfrm>
            <a:off x="9963149" y="3395026"/>
            <a:ext cx="1785939" cy="1368000"/>
          </a:xfrm>
          <a:custGeom>
            <a:avLst/>
            <a:gdLst>
              <a:gd name="connsiteX0" fmla="*/ 0 w 1828800"/>
              <a:gd name="connsiteY0" fmla="*/ 0 h 1368000"/>
              <a:gd name="connsiteX1" fmla="*/ 1828800 w 1828800"/>
              <a:gd name="connsiteY1" fmla="*/ 0 h 1368000"/>
              <a:gd name="connsiteX2" fmla="*/ 1828800 w 1828800"/>
              <a:gd name="connsiteY2" fmla="*/ 1368000 h 1368000"/>
              <a:gd name="connsiteX3" fmla="*/ 6682 w 1828800"/>
              <a:gd name="connsiteY3" fmla="*/ 1368000 h 1368000"/>
              <a:gd name="connsiteX4" fmla="*/ 172155 w 1828800"/>
              <a:gd name="connsiteY4" fmla="*/ 697548 h 1368000"/>
              <a:gd name="connsiteX5" fmla="*/ 0 w 1828800"/>
              <a:gd name="connsiteY5" fmla="*/ 11797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1368000">
                <a:moveTo>
                  <a:pt x="0" y="0"/>
                </a:moveTo>
                <a:lnTo>
                  <a:pt x="1828800" y="0"/>
                </a:lnTo>
                <a:lnTo>
                  <a:pt x="1828800" y="1368000"/>
                </a:lnTo>
                <a:lnTo>
                  <a:pt x="6682" y="1368000"/>
                </a:lnTo>
                <a:lnTo>
                  <a:pt x="172155" y="697548"/>
                </a:lnTo>
                <a:lnTo>
                  <a:pt x="0" y="11797"/>
                </a:lnTo>
                <a:close/>
              </a:path>
            </a:pathLst>
          </a:custGeom>
          <a:solidFill>
            <a:schemeClr val="bg2"/>
          </a:solidFill>
          <a:ln w="76200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5AAE1F8A-7150-4816-BD7B-8B6A6BFDB5FB}"/>
              </a:ext>
            </a:extLst>
          </p:cNvPr>
          <p:cNvSpPr/>
          <p:nvPr/>
        </p:nvSpPr>
        <p:spPr>
          <a:xfrm>
            <a:off x="1919536" y="1881189"/>
            <a:ext cx="552904" cy="4390181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C33E90B-5AA8-40DC-8D66-39B0D618970A}"/>
              </a:ext>
            </a:extLst>
          </p:cNvPr>
          <p:cNvSpPr/>
          <p:nvPr/>
        </p:nvSpPr>
        <p:spPr>
          <a:xfrm>
            <a:off x="4774367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04E6C11F-D439-4D70-B620-F96AD54A1217}"/>
              </a:ext>
            </a:extLst>
          </p:cNvPr>
          <p:cNvSpPr/>
          <p:nvPr/>
        </p:nvSpPr>
        <p:spPr>
          <a:xfrm>
            <a:off x="6638471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8E7DA747-57B4-4073-87CD-C046B8C25E73}"/>
              </a:ext>
            </a:extLst>
          </p:cNvPr>
          <p:cNvSpPr/>
          <p:nvPr/>
        </p:nvSpPr>
        <p:spPr>
          <a:xfrm>
            <a:off x="9539540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834A23-5D44-DE61-1ED9-F865F3989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600" y="22428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A049ECA-7A54-6AA7-4B49-AA2785104A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3600" y="2242800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1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7</a:t>
            </a:fld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35126C0-6977-4FF4-AD45-AB6FB99D319E}"/>
              </a:ext>
            </a:extLst>
          </p:cNvPr>
          <p:cNvSpPr/>
          <p:nvPr/>
        </p:nvSpPr>
        <p:spPr>
          <a:xfrm>
            <a:off x="425525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DCC3540-0EDE-42C2-92A1-0BBF8A18FB12}"/>
              </a:ext>
            </a:extLst>
          </p:cNvPr>
          <p:cNvSpPr/>
          <p:nvPr/>
        </p:nvSpPr>
        <p:spPr>
          <a:xfrm>
            <a:off x="5178182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E188321-70A1-491F-ABDE-DA1CF4B3DA60}"/>
              </a:ext>
            </a:extLst>
          </p:cNvPr>
          <p:cNvSpPr/>
          <p:nvPr/>
        </p:nvSpPr>
        <p:spPr>
          <a:xfrm>
            <a:off x="9930841" y="3395026"/>
            <a:ext cx="1818247" cy="1368000"/>
          </a:xfrm>
          <a:prstGeom prst="rect">
            <a:avLst/>
          </a:prstGeom>
          <a:solidFill>
            <a:schemeClr val="bg2"/>
          </a:solidFill>
          <a:ln w="7620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F689AE8-CACD-4BBE-8F3B-42D962A7E56A}"/>
              </a:ext>
            </a:extLst>
          </p:cNvPr>
          <p:cNvCxnSpPr/>
          <p:nvPr/>
        </p:nvCxnSpPr>
        <p:spPr>
          <a:xfrm>
            <a:off x="5142215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3BC91A97-37BE-47F3-BDC5-FD2595B86994}"/>
              </a:ext>
            </a:extLst>
          </p:cNvPr>
          <p:cNvCxnSpPr/>
          <p:nvPr/>
        </p:nvCxnSpPr>
        <p:spPr>
          <a:xfrm>
            <a:off x="2284208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E69CE22-0B9E-4596-B6C0-B7E2C076F3D9}"/>
              </a:ext>
            </a:extLst>
          </p:cNvPr>
          <p:cNvCxnSpPr/>
          <p:nvPr/>
        </p:nvCxnSpPr>
        <p:spPr>
          <a:xfrm>
            <a:off x="9890991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8E1DD538-FE33-47B2-92AC-29361908E51D}"/>
              </a:ext>
            </a:extLst>
          </p:cNvPr>
          <p:cNvCxnSpPr/>
          <p:nvPr/>
        </p:nvCxnSpPr>
        <p:spPr>
          <a:xfrm>
            <a:off x="7029786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39AB663F-2BDA-41EE-8717-8A12685CCF95}"/>
              </a:ext>
            </a:extLst>
          </p:cNvPr>
          <p:cNvGrpSpPr/>
          <p:nvPr/>
        </p:nvGrpSpPr>
        <p:grpSpPr>
          <a:xfrm>
            <a:off x="2107846" y="3855864"/>
            <a:ext cx="364154" cy="462328"/>
            <a:chOff x="5250189" y="3455483"/>
            <a:chExt cx="364154" cy="462328"/>
          </a:xfrm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9FDE7DCF-3B32-4BAA-BC36-67543A6A5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5">
              <a:extLst>
                <a:ext uri="{FF2B5EF4-FFF2-40B4-BE49-F238E27FC236}">
                  <a16:creationId xmlns:a16="http://schemas.microsoft.com/office/drawing/2014/main" id="{2607CB20-C7CA-4FDA-8D36-F1928465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61C0F7ED-21A1-4087-A888-D4CAFCD17002}"/>
              </a:ext>
            </a:extLst>
          </p:cNvPr>
          <p:cNvGrpSpPr/>
          <p:nvPr/>
        </p:nvGrpSpPr>
        <p:grpSpPr>
          <a:xfrm>
            <a:off x="4984164" y="3826522"/>
            <a:ext cx="364154" cy="462328"/>
            <a:chOff x="5250189" y="3455483"/>
            <a:chExt cx="364154" cy="462328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14DAA140-3E5F-4BA8-BFAC-727AC9669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93AD2A45-CEFC-4596-86C5-977861EB1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B73DDCB0-344A-43F3-A6DE-7808F3D9F959}"/>
              </a:ext>
            </a:extLst>
          </p:cNvPr>
          <p:cNvGrpSpPr/>
          <p:nvPr/>
        </p:nvGrpSpPr>
        <p:grpSpPr>
          <a:xfrm>
            <a:off x="6847970" y="3797180"/>
            <a:ext cx="364154" cy="462328"/>
            <a:chOff x="5250189" y="3455483"/>
            <a:chExt cx="364154" cy="462328"/>
          </a:xfrm>
        </p:grpSpPr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8C34F460-4BA4-4AC6-AB73-09A9DA72E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5">
              <a:extLst>
                <a:ext uri="{FF2B5EF4-FFF2-40B4-BE49-F238E27FC236}">
                  <a16:creationId xmlns:a16="http://schemas.microsoft.com/office/drawing/2014/main" id="{71A627DB-40F0-452F-B271-9E81B71DA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2B4947A6-CDF0-4725-B91D-BD7DC17635D6}"/>
              </a:ext>
            </a:extLst>
          </p:cNvPr>
          <p:cNvGrpSpPr/>
          <p:nvPr/>
        </p:nvGrpSpPr>
        <p:grpSpPr>
          <a:xfrm>
            <a:off x="9696400" y="3767838"/>
            <a:ext cx="364154" cy="462328"/>
            <a:chOff x="5250189" y="3455483"/>
            <a:chExt cx="364154" cy="462328"/>
          </a:xfrm>
        </p:grpSpPr>
        <p:sp>
          <p:nvSpPr>
            <p:cNvPr id="101" name="Freeform 5">
              <a:extLst>
                <a:ext uri="{FF2B5EF4-FFF2-40B4-BE49-F238E27FC236}">
                  <a16:creationId xmlns:a16="http://schemas.microsoft.com/office/drawing/2014/main" id="{F39E27B7-246C-47CC-8FB8-7BA6E30EA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629E587D-C000-4F0F-838E-64BAB0DBD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B7B3EC92-808B-8DA9-BC3E-97E09071C0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1600" y="2242800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08DA142-7F85-51AD-0A0E-2DEDE8674A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3600" y="2242800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1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8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8E115ED-C6E9-4BEF-9BCF-95E2B43AE21D}"/>
              </a:ext>
            </a:extLst>
          </p:cNvPr>
          <p:cNvSpPr/>
          <p:nvPr/>
        </p:nvSpPr>
        <p:spPr>
          <a:xfrm>
            <a:off x="443992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415B6AB-373D-4F3B-821F-D1064AD36CFC}"/>
              </a:ext>
            </a:extLst>
          </p:cNvPr>
          <p:cNvSpPr/>
          <p:nvPr/>
        </p:nvSpPr>
        <p:spPr>
          <a:xfrm>
            <a:off x="2676240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E68838B-C1DC-4543-8E67-09006107E58B}"/>
              </a:ext>
            </a:extLst>
          </p:cNvPr>
          <p:cNvSpPr/>
          <p:nvPr/>
        </p:nvSpPr>
        <p:spPr>
          <a:xfrm>
            <a:off x="10164452" y="3465140"/>
            <a:ext cx="1583556" cy="122400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4331804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6420346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8508888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4331804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6420346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8508888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8B043B-19C8-4AE8-BA1C-3C181235C110}"/>
              </a:ext>
            </a:extLst>
          </p:cNvPr>
          <p:cNvCxnSpPr>
            <a:cxnSpLocks/>
          </p:cNvCxnSpPr>
          <p:nvPr/>
        </p:nvCxnSpPr>
        <p:spPr>
          <a:xfrm>
            <a:off x="5987853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F9E0ACD9-6EEB-491A-9785-F7104EEB14EE}"/>
              </a:ext>
            </a:extLst>
          </p:cNvPr>
          <p:cNvSpPr/>
          <p:nvPr/>
        </p:nvSpPr>
        <p:spPr>
          <a:xfrm>
            <a:off x="3468757" y="2524539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B436483-20B0-49AF-A20C-EE4633B19675}"/>
              </a:ext>
            </a:extLst>
          </p:cNvPr>
          <p:cNvSpPr/>
          <p:nvPr/>
        </p:nvSpPr>
        <p:spPr>
          <a:xfrm flipV="1">
            <a:off x="3468757" y="4761148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83092EB-BC53-4703-9231-E7B172707613}"/>
              </a:ext>
            </a:extLst>
          </p:cNvPr>
          <p:cNvCxnSpPr>
            <a:cxnSpLocks/>
          </p:cNvCxnSpPr>
          <p:nvPr/>
        </p:nvCxnSpPr>
        <p:spPr>
          <a:xfrm>
            <a:off x="8076395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1D1E5A3-3373-4446-9139-E2F63724AA75}"/>
              </a:ext>
            </a:extLst>
          </p:cNvPr>
          <p:cNvCxnSpPr>
            <a:cxnSpLocks/>
          </p:cNvCxnSpPr>
          <p:nvPr/>
        </p:nvCxnSpPr>
        <p:spPr>
          <a:xfrm>
            <a:off x="5987853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C3DE17BE-E593-4610-876A-8C89CE42F557}"/>
              </a:ext>
            </a:extLst>
          </p:cNvPr>
          <p:cNvCxnSpPr>
            <a:cxnSpLocks/>
          </p:cNvCxnSpPr>
          <p:nvPr/>
        </p:nvCxnSpPr>
        <p:spPr>
          <a:xfrm>
            <a:off x="8076395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63E11EFD-0170-492C-816A-D26BF4EE4DED}"/>
              </a:ext>
            </a:extLst>
          </p:cNvPr>
          <p:cNvSpPr/>
          <p:nvPr/>
        </p:nvSpPr>
        <p:spPr>
          <a:xfrm rot="5400000">
            <a:off x="10131199" y="2563198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2CDD57CB-CB28-47F3-A6AD-ADD1AA0D6E1F}"/>
              </a:ext>
            </a:extLst>
          </p:cNvPr>
          <p:cNvSpPr/>
          <p:nvPr/>
        </p:nvSpPr>
        <p:spPr>
          <a:xfrm rot="16200000" flipV="1">
            <a:off x="10131199" y="4799971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BE81C1DA-6993-401B-9FC7-36F137835AAA}"/>
              </a:ext>
            </a:extLst>
          </p:cNvPr>
          <p:cNvCxnSpPr>
            <a:cxnSpLocks/>
          </p:cNvCxnSpPr>
          <p:nvPr/>
        </p:nvCxnSpPr>
        <p:spPr>
          <a:xfrm>
            <a:off x="2099894" y="4077140"/>
            <a:ext cx="504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94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9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3468018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5556250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7644792" y="1849789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3468018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5556250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7644792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E058D0A-57C7-461D-BEBF-2B92AA3155A1}"/>
              </a:ext>
            </a:extLst>
          </p:cNvPr>
          <p:cNvSpPr/>
          <p:nvPr/>
        </p:nvSpPr>
        <p:spPr>
          <a:xfrm>
            <a:off x="4944952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D860FE2-4AA6-4235-BDAE-D30F36F1BC63}"/>
              </a:ext>
            </a:extLst>
          </p:cNvPr>
          <p:cNvSpPr/>
          <p:nvPr/>
        </p:nvSpPr>
        <p:spPr>
          <a:xfrm>
            <a:off x="7033184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C2E7760D-48A4-42AD-A28A-B22D51C0AE19}"/>
              </a:ext>
            </a:extLst>
          </p:cNvPr>
          <p:cNvSpPr/>
          <p:nvPr/>
        </p:nvSpPr>
        <p:spPr>
          <a:xfrm>
            <a:off x="9121726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AAEE970-681C-4A9A-8F5D-325C85DCD850}"/>
              </a:ext>
            </a:extLst>
          </p:cNvPr>
          <p:cNvSpPr/>
          <p:nvPr/>
        </p:nvSpPr>
        <p:spPr>
          <a:xfrm>
            <a:off x="4944952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8D749FC-3E25-430C-A0F5-E9A30AEA376A}"/>
              </a:ext>
            </a:extLst>
          </p:cNvPr>
          <p:cNvSpPr/>
          <p:nvPr/>
        </p:nvSpPr>
        <p:spPr>
          <a:xfrm>
            <a:off x="7033184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E3B2701-CB8F-4A95-AFF5-FEAC5AB7E78A}"/>
              </a:ext>
            </a:extLst>
          </p:cNvPr>
          <p:cNvSpPr/>
          <p:nvPr/>
        </p:nvSpPr>
        <p:spPr>
          <a:xfrm>
            <a:off x="9121726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16F2A09-617C-4244-8320-67E11EC05C0D}"/>
              </a:ext>
            </a:extLst>
          </p:cNvPr>
          <p:cNvSpPr/>
          <p:nvPr/>
        </p:nvSpPr>
        <p:spPr>
          <a:xfrm>
            <a:off x="2253556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A4BB7F-A794-4EAE-9E93-90FCA4FD4624}"/>
              </a:ext>
            </a:extLst>
          </p:cNvPr>
          <p:cNvSpPr/>
          <p:nvPr/>
        </p:nvSpPr>
        <p:spPr>
          <a:xfrm>
            <a:off x="381968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FB26146-4CF7-4901-A6CD-750CD893102B}"/>
              </a:ext>
            </a:extLst>
          </p:cNvPr>
          <p:cNvSpPr/>
          <p:nvPr/>
        </p:nvSpPr>
        <p:spPr>
          <a:xfrm>
            <a:off x="10272464" y="3248993"/>
            <a:ext cx="1475612" cy="165616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bg1"/>
                </a:solidFill>
                <a:latin typeface="+mj-lt"/>
              </a:rPr>
              <a:t>Lorem</a:t>
            </a:r>
            <a:r>
              <a:rPr lang="de-DE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+mj-lt"/>
              </a:rPr>
              <a:t>ipsum</a:t>
            </a: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322F924-2F1D-4CAF-8D7D-AC716815173E}"/>
              </a:ext>
            </a:extLst>
          </p:cNvPr>
          <p:cNvCxnSpPr>
            <a:stCxn id="23" idx="6"/>
            <a:endCxn id="22" idx="2"/>
          </p:cNvCxnSpPr>
          <p:nvPr/>
        </p:nvCxnSpPr>
        <p:spPr>
          <a:xfrm>
            <a:off x="597968" y="4077072"/>
            <a:ext cx="1655588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54824836-0FB9-497A-B417-F0CDFB33FB3A}"/>
              </a:ext>
            </a:extLst>
          </p:cNvPr>
          <p:cNvCxnSpPr>
            <a:cxnSpLocks/>
            <a:stCxn id="22" idx="6"/>
            <a:endCxn id="16" idx="2"/>
          </p:cNvCxnSpPr>
          <p:nvPr/>
        </p:nvCxnSpPr>
        <p:spPr>
          <a:xfrm flipV="1">
            <a:off x="2469556" y="324899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98A41F57-A1C4-428A-B9F1-DC87403C9824}"/>
              </a:ext>
            </a:extLst>
          </p:cNvPr>
          <p:cNvCxnSpPr>
            <a:cxnSpLocks/>
            <a:stCxn id="22" idx="6"/>
            <a:endCxn id="19" idx="2"/>
          </p:cNvCxnSpPr>
          <p:nvPr/>
        </p:nvCxnSpPr>
        <p:spPr>
          <a:xfrm>
            <a:off x="2469556" y="407707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14E6FD1-EBD5-4BEA-B8DF-21CC27F512F5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>
            <a:off x="5160952" y="324899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EF0A13CC-1D78-4165-A8ED-60FFCA74169C}"/>
              </a:ext>
            </a:extLst>
          </p:cNvPr>
          <p:cNvCxnSpPr>
            <a:cxnSpLocks/>
            <a:stCxn id="17" idx="6"/>
            <a:endCxn id="18" idx="2"/>
          </p:cNvCxnSpPr>
          <p:nvPr/>
        </p:nvCxnSpPr>
        <p:spPr>
          <a:xfrm>
            <a:off x="7249184" y="324899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99DB35C-6AF3-48E5-B4D5-7F41E5279734}"/>
              </a:ext>
            </a:extLst>
          </p:cNvPr>
          <p:cNvCxnSpPr>
            <a:cxnSpLocks/>
            <a:stCxn id="20" idx="6"/>
            <a:endCxn id="21" idx="2"/>
          </p:cNvCxnSpPr>
          <p:nvPr/>
        </p:nvCxnSpPr>
        <p:spPr>
          <a:xfrm>
            <a:off x="7249184" y="490515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2670FA1B-06E6-489A-BC3A-6CB6E7FD9D64}"/>
              </a:ext>
            </a:extLst>
          </p:cNvPr>
          <p:cNvCxnSpPr>
            <a:cxnSpLocks/>
            <a:stCxn id="19" idx="6"/>
            <a:endCxn id="20" idx="2"/>
          </p:cNvCxnSpPr>
          <p:nvPr/>
        </p:nvCxnSpPr>
        <p:spPr>
          <a:xfrm>
            <a:off x="5160952" y="490515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0F36B518-4C3B-4226-8982-B0FC1AC97DAF}"/>
              </a:ext>
            </a:extLst>
          </p:cNvPr>
          <p:cNvCxnSpPr>
            <a:cxnSpLocks/>
            <a:stCxn id="18" idx="6"/>
          </p:cNvCxnSpPr>
          <p:nvPr/>
        </p:nvCxnSpPr>
        <p:spPr>
          <a:xfrm>
            <a:off x="9337726" y="3248992"/>
            <a:ext cx="862730" cy="82807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79D2EF78-AC12-4F90-B187-4B65C62BDB84}"/>
              </a:ext>
            </a:extLst>
          </p:cNvPr>
          <p:cNvCxnSpPr>
            <a:cxnSpLocks/>
            <a:stCxn id="21" idx="6"/>
          </p:cNvCxnSpPr>
          <p:nvPr/>
        </p:nvCxnSpPr>
        <p:spPr>
          <a:xfrm flipV="1">
            <a:off x="9337726" y="4077071"/>
            <a:ext cx="862730" cy="82808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DB3DD61-4EF4-414A-A0B8-FD0C14662630}"/>
              </a:ext>
            </a:extLst>
          </p:cNvPr>
          <p:cNvCxnSpPr>
            <a:cxnSpLocks/>
          </p:cNvCxnSpPr>
          <p:nvPr/>
        </p:nvCxnSpPr>
        <p:spPr>
          <a:xfrm flipV="1">
            <a:off x="5051876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016BD905-7503-4073-A4B3-BC14D26A7190}"/>
              </a:ext>
            </a:extLst>
          </p:cNvPr>
          <p:cNvCxnSpPr>
            <a:cxnSpLocks/>
          </p:cNvCxnSpPr>
          <p:nvPr/>
        </p:nvCxnSpPr>
        <p:spPr>
          <a:xfrm flipV="1">
            <a:off x="7140108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45B38CE-7904-41CD-9DE3-F1727A53CD0A}"/>
              </a:ext>
            </a:extLst>
          </p:cNvPr>
          <p:cNvCxnSpPr>
            <a:cxnSpLocks/>
          </p:cNvCxnSpPr>
          <p:nvPr/>
        </p:nvCxnSpPr>
        <p:spPr>
          <a:xfrm flipV="1">
            <a:off x="9228650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6D69BAA9-39C5-47C6-8CEC-6C002FE2124B}"/>
              </a:ext>
            </a:extLst>
          </p:cNvPr>
          <p:cNvCxnSpPr>
            <a:cxnSpLocks/>
          </p:cNvCxnSpPr>
          <p:nvPr/>
        </p:nvCxnSpPr>
        <p:spPr>
          <a:xfrm flipV="1">
            <a:off x="5051884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D61993C-67F9-4A3F-84E8-931CF23194A4}"/>
              </a:ext>
            </a:extLst>
          </p:cNvPr>
          <p:cNvCxnSpPr>
            <a:cxnSpLocks/>
          </p:cNvCxnSpPr>
          <p:nvPr/>
        </p:nvCxnSpPr>
        <p:spPr>
          <a:xfrm flipV="1">
            <a:off x="7140108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ACD813DF-069F-47C8-9EF8-1E5DA56AD5CA}"/>
              </a:ext>
            </a:extLst>
          </p:cNvPr>
          <p:cNvCxnSpPr>
            <a:cxnSpLocks/>
          </p:cNvCxnSpPr>
          <p:nvPr/>
        </p:nvCxnSpPr>
        <p:spPr>
          <a:xfrm flipV="1">
            <a:off x="9228650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21BCB6C4-9250-4E1E-92F7-9AB896B2E96B}"/>
              </a:ext>
            </a:extLst>
          </p:cNvPr>
          <p:cNvSpPr/>
          <p:nvPr/>
        </p:nvSpPr>
        <p:spPr>
          <a:xfrm>
            <a:off x="767408" y="4329220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DD67A233-17F9-4E55-8A5B-DC6D64E089B4}"/>
              </a:ext>
            </a:extLst>
          </p:cNvPr>
          <p:cNvCxnSpPr>
            <a:cxnSpLocks/>
          </p:cNvCxnSpPr>
          <p:nvPr/>
        </p:nvCxnSpPr>
        <p:spPr>
          <a:xfrm flipH="1" flipV="1">
            <a:off x="2352196" y="4221316"/>
            <a:ext cx="16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ED490508-9BA5-4147-A230-717882DA9C95}"/>
              </a:ext>
            </a:extLst>
          </p:cNvPr>
          <p:cNvSpPr/>
          <p:nvPr/>
        </p:nvSpPr>
        <p:spPr>
          <a:xfrm>
            <a:off x="479376" y="2708920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 anchorCtr="0"/>
          <a:lstStyle/>
          <a:p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6BB9E12D-6ECB-4CD9-A2C4-D76994E054D9}"/>
              </a:ext>
            </a:extLst>
          </p:cNvPr>
          <p:cNvCxnSpPr>
            <a:cxnSpLocks/>
          </p:cNvCxnSpPr>
          <p:nvPr/>
        </p:nvCxnSpPr>
        <p:spPr>
          <a:xfrm flipV="1">
            <a:off x="479376" y="2745052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32B6BBD6-8B66-4629-9D0B-05C11ED084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96884" y="3655946"/>
            <a:ext cx="842254" cy="84225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4C5AFC9-AC39-1C66-836E-206094DF2F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0400" y="3657600"/>
            <a:ext cx="842400" cy="842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23C7413-1415-9823-00CE-6ABA7508F3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28400" y="3657600"/>
            <a:ext cx="84240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97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0601" y="2348880"/>
            <a:ext cx="6983412" cy="2700300"/>
          </a:xfrm>
        </p:spPr>
        <p:txBody>
          <a:bodyPr/>
          <a:lstStyle/>
          <a:p>
            <a:r>
              <a:rPr lang="de-DE" dirty="0"/>
              <a:t>Titel zwei- bis vier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lorem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0600" y="6201308"/>
            <a:ext cx="4931299" cy="288000"/>
          </a:xfrm>
        </p:spPr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F01924FB-9FDE-18C9-1578-84718ABF5B4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7684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A36EDE9-ED72-46D9-98EB-C23D8FE70826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0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767408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864797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8962185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5239245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33663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B45D5F5-5A7D-440B-AA80-0D1CFD9F0E33}"/>
              </a:ext>
            </a:extLst>
          </p:cNvPr>
          <p:cNvSpPr/>
          <p:nvPr/>
        </p:nvSpPr>
        <p:spPr>
          <a:xfrm>
            <a:off x="587387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9F6ECBD-A3D0-46C8-B947-AC602C591AB9}"/>
              </a:ext>
            </a:extLst>
          </p:cNvPr>
          <p:cNvSpPr/>
          <p:nvPr/>
        </p:nvSpPr>
        <p:spPr>
          <a:xfrm>
            <a:off x="2636081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7A3D667-18D3-4D23-9E40-F43121D79778}"/>
              </a:ext>
            </a:extLst>
          </p:cNvPr>
          <p:cNvSpPr/>
          <p:nvPr/>
        </p:nvSpPr>
        <p:spPr>
          <a:xfrm>
            <a:off x="4684775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BBFF23DC-42EA-4401-9518-39A81630B253}"/>
              </a:ext>
            </a:extLst>
          </p:cNvPr>
          <p:cNvSpPr/>
          <p:nvPr/>
        </p:nvSpPr>
        <p:spPr>
          <a:xfrm>
            <a:off x="6733469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A3BB3F06-875B-4E8A-82C7-459336467BEE}"/>
              </a:ext>
            </a:extLst>
          </p:cNvPr>
          <p:cNvSpPr/>
          <p:nvPr/>
        </p:nvSpPr>
        <p:spPr>
          <a:xfrm>
            <a:off x="8782163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FD7F4C4-184F-4618-A2DD-39AD8F419A65}"/>
              </a:ext>
            </a:extLst>
          </p:cNvPr>
          <p:cNvSpPr/>
          <p:nvPr/>
        </p:nvSpPr>
        <p:spPr>
          <a:xfrm>
            <a:off x="10830856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3695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1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817819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915208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9012596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4915245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012632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04EDC9B-C15B-4B75-ABE0-19CC93AD70E7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B6743FF-F097-4CBA-99D1-08F8ABBE8DC4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C74FDDA-25EC-4820-B229-1423369FBBE3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3CCFC45-CA97-4ADD-9C2B-1C509D05DF8F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797A5A08-0C3F-4992-9F9D-84266D65B36B}"/>
              </a:ext>
            </a:extLst>
          </p:cNvPr>
          <p:cNvSpPr/>
          <p:nvPr/>
        </p:nvSpPr>
        <p:spPr>
          <a:xfrm>
            <a:off x="465190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5D627ECF-E28B-44D6-A23C-2212E0D7540D}"/>
              </a:ext>
            </a:extLst>
          </p:cNvPr>
          <p:cNvSpPr/>
          <p:nvPr/>
        </p:nvSpPr>
        <p:spPr>
          <a:xfrm>
            <a:off x="2513884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55286CCF-CEE4-4C7D-8A91-0BC517BE8009}"/>
              </a:ext>
            </a:extLst>
          </p:cNvPr>
          <p:cNvSpPr/>
          <p:nvPr/>
        </p:nvSpPr>
        <p:spPr>
          <a:xfrm>
            <a:off x="4562578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A2F6A17-B7A1-44D0-8FA4-7043F9B42102}"/>
              </a:ext>
            </a:extLst>
          </p:cNvPr>
          <p:cNvSpPr/>
          <p:nvPr/>
        </p:nvSpPr>
        <p:spPr>
          <a:xfrm>
            <a:off x="6611272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C4D719BE-3118-4EA3-8363-39B7B979A362}"/>
              </a:ext>
            </a:extLst>
          </p:cNvPr>
          <p:cNvSpPr/>
          <p:nvPr/>
        </p:nvSpPr>
        <p:spPr>
          <a:xfrm>
            <a:off x="8659966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A1A7C50E-DFA4-420B-A59D-8C4F9058C7C8}"/>
              </a:ext>
            </a:extLst>
          </p:cNvPr>
          <p:cNvSpPr/>
          <p:nvPr/>
        </p:nvSpPr>
        <p:spPr>
          <a:xfrm>
            <a:off x="10708659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343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2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0878F23-9E08-4BBF-A712-AB08B1E19F94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C1933205-28F7-43C8-88E0-FC9D92F130B0}"/>
              </a:ext>
            </a:extLst>
          </p:cNvPr>
          <p:cNvSpPr txBox="1">
            <a:spLocks/>
          </p:cNvSpPr>
          <p:nvPr/>
        </p:nvSpPr>
        <p:spPr>
          <a:xfrm>
            <a:off x="407367" y="4256941"/>
            <a:ext cx="3959225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88FBA8C-1D48-4916-8B52-088138CA884A}"/>
              </a:ext>
            </a:extLst>
          </p:cNvPr>
          <p:cNvSpPr txBox="1">
            <a:spLocks/>
          </p:cNvSpPr>
          <p:nvPr/>
        </p:nvSpPr>
        <p:spPr>
          <a:xfrm>
            <a:off x="7825408" y="1844675"/>
            <a:ext cx="3959398" cy="1908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EBA2C17E-3787-4791-94A4-7B8C2129FE99}"/>
              </a:ext>
            </a:extLst>
          </p:cNvPr>
          <p:cNvSpPr txBox="1">
            <a:spLocks/>
          </p:cNvSpPr>
          <p:nvPr/>
        </p:nvSpPr>
        <p:spPr>
          <a:xfrm>
            <a:off x="7824788" y="4256581"/>
            <a:ext cx="3959398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23FB6CC-0468-4F6A-B85F-5DA9676C4274}"/>
              </a:ext>
            </a:extLst>
          </p:cNvPr>
          <p:cNvCxnSpPr>
            <a:cxnSpLocks/>
          </p:cNvCxnSpPr>
          <p:nvPr/>
        </p:nvCxnSpPr>
        <p:spPr>
          <a:xfrm>
            <a:off x="7392144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C9EC4E8-E361-4073-8C96-FBB565B8E496}"/>
              </a:ext>
            </a:extLst>
          </p:cNvPr>
          <p:cNvCxnSpPr>
            <a:cxnSpLocks/>
          </p:cNvCxnSpPr>
          <p:nvPr/>
        </p:nvCxnSpPr>
        <p:spPr>
          <a:xfrm>
            <a:off x="407988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BDEC71-4228-4143-9717-1A09EE7F6B5D}"/>
              </a:ext>
            </a:extLst>
          </p:cNvPr>
          <p:cNvCxnSpPr>
            <a:cxnSpLocks/>
          </p:cNvCxnSpPr>
          <p:nvPr/>
        </p:nvCxnSpPr>
        <p:spPr>
          <a:xfrm>
            <a:off x="6096000" y="1880828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B967E15-C3BC-4EC8-9E9A-8C2D852101D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42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3</a:t>
            </a:fld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741B4AE-AE99-4589-968C-894E5FFBC6DF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5058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5A68C773-74E2-4CEC-BD45-7C71E8B53955}"/>
              </a:ext>
            </a:extLst>
          </p:cNvPr>
          <p:cNvSpPr txBox="1">
            <a:spLocks/>
          </p:cNvSpPr>
          <p:nvPr/>
        </p:nvSpPr>
        <p:spPr>
          <a:xfrm>
            <a:off x="407368" y="4256941"/>
            <a:ext cx="3385058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738083B-6962-46FF-924C-140F28636040}"/>
              </a:ext>
            </a:extLst>
          </p:cNvPr>
          <p:cNvSpPr txBox="1">
            <a:spLocks/>
          </p:cNvSpPr>
          <p:nvPr/>
        </p:nvSpPr>
        <p:spPr>
          <a:xfrm>
            <a:off x="8401670" y="1880828"/>
            <a:ext cx="3383136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657C0256-D0E2-4055-A05F-8ED31E9766D6}"/>
              </a:ext>
            </a:extLst>
          </p:cNvPr>
          <p:cNvSpPr txBox="1">
            <a:spLocks/>
          </p:cNvSpPr>
          <p:nvPr/>
        </p:nvSpPr>
        <p:spPr>
          <a:xfrm>
            <a:off x="8401050" y="4256581"/>
            <a:ext cx="3383136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58F2C83-7312-4EBC-9612-B43A8B9B1E08}"/>
              </a:ext>
            </a:extLst>
          </p:cNvPr>
          <p:cNvSpPr/>
          <p:nvPr/>
        </p:nvSpPr>
        <p:spPr>
          <a:xfrm>
            <a:off x="420914" y="1886857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82436384-D838-4492-A4F4-787242C2C571}"/>
              </a:ext>
            </a:extLst>
          </p:cNvPr>
          <p:cNvSpPr/>
          <p:nvPr/>
        </p:nvSpPr>
        <p:spPr>
          <a:xfrm flipV="1">
            <a:off x="407367" y="4981544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1F1D5CB3-7CBC-4B5E-9EF9-C74D5B2AAB7B}"/>
              </a:ext>
            </a:extLst>
          </p:cNvPr>
          <p:cNvSpPr/>
          <p:nvPr/>
        </p:nvSpPr>
        <p:spPr>
          <a:xfrm flipH="1">
            <a:off x="7053149" y="1880828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B982455D-22CF-4401-B3CE-23B1188E5859}"/>
              </a:ext>
            </a:extLst>
          </p:cNvPr>
          <p:cNvSpPr/>
          <p:nvPr/>
        </p:nvSpPr>
        <p:spPr>
          <a:xfrm flipH="1" flipV="1">
            <a:off x="7053149" y="4975515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263E3EA-55F0-4B4A-8E1D-E3BBB7E58977}"/>
              </a:ext>
            </a:extLst>
          </p:cNvPr>
          <p:cNvSpPr/>
          <p:nvPr/>
        </p:nvSpPr>
        <p:spPr>
          <a:xfrm>
            <a:off x="731996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19F5B72-B0E2-4C56-8C32-3E480613EB2B}"/>
              </a:ext>
            </a:extLst>
          </p:cNvPr>
          <p:cNvSpPr/>
          <p:nvPr/>
        </p:nvSpPr>
        <p:spPr>
          <a:xfrm>
            <a:off x="731996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CC4B17F-A6C9-4224-A81A-F45B2B9ADD03}"/>
              </a:ext>
            </a:extLst>
          </p:cNvPr>
          <p:cNvSpPr/>
          <p:nvPr/>
        </p:nvSpPr>
        <p:spPr>
          <a:xfrm>
            <a:off x="440381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7E0E157-FBC4-44AC-AB6B-FBC80A525DD7}"/>
              </a:ext>
            </a:extLst>
          </p:cNvPr>
          <p:cNvSpPr/>
          <p:nvPr/>
        </p:nvSpPr>
        <p:spPr>
          <a:xfrm>
            <a:off x="440381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6099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4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819994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5196000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572006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948012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EF41C549-0EC4-43D9-A9BB-BC038CD80746}"/>
              </a:ext>
            </a:extLst>
          </p:cNvPr>
          <p:cNvSpPr>
            <a:spLocks/>
          </p:cNvSpPr>
          <p:nvPr/>
        </p:nvSpPr>
        <p:spPr bwMode="auto">
          <a:xfrm>
            <a:off x="2393181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FEAD2846-8DEE-4BF0-944B-B7C535DF0936}"/>
              </a:ext>
            </a:extLst>
          </p:cNvPr>
          <p:cNvSpPr>
            <a:spLocks/>
          </p:cNvSpPr>
          <p:nvPr/>
        </p:nvSpPr>
        <p:spPr bwMode="auto">
          <a:xfrm>
            <a:off x="4769290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B2F4C5F3-CE09-41AB-AFA2-47737631AB7D}"/>
              </a:ext>
            </a:extLst>
          </p:cNvPr>
          <p:cNvSpPr>
            <a:spLocks/>
          </p:cNvSpPr>
          <p:nvPr/>
        </p:nvSpPr>
        <p:spPr bwMode="auto">
          <a:xfrm>
            <a:off x="7145399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Freeform 5">
            <a:extLst>
              <a:ext uri="{FF2B5EF4-FFF2-40B4-BE49-F238E27FC236}">
                <a16:creationId xmlns:a16="http://schemas.microsoft.com/office/drawing/2014/main" id="{04717336-830C-476F-806B-1BF37C245E86}"/>
              </a:ext>
            </a:extLst>
          </p:cNvPr>
          <p:cNvSpPr>
            <a:spLocks/>
          </p:cNvSpPr>
          <p:nvPr/>
        </p:nvSpPr>
        <p:spPr bwMode="auto">
          <a:xfrm>
            <a:off x="9521508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A31EE48-F0F6-4746-A24C-536291F3FEE9}"/>
              </a:ext>
            </a:extLst>
          </p:cNvPr>
          <p:cNvSpPr/>
          <p:nvPr/>
        </p:nvSpPr>
        <p:spPr>
          <a:xfrm>
            <a:off x="407292" y="2655364"/>
            <a:ext cx="18369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839F1B6-D64F-4194-A960-9381D0672F26}"/>
              </a:ext>
            </a:extLst>
          </p:cNvPr>
          <p:cNvSpPr/>
          <p:nvPr/>
        </p:nvSpPr>
        <p:spPr>
          <a:xfrm>
            <a:off x="2820300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8143F2-E85B-4B73-A72A-D4D4937D78C1}"/>
              </a:ext>
            </a:extLst>
          </p:cNvPr>
          <p:cNvSpPr/>
          <p:nvPr/>
        </p:nvSpPr>
        <p:spPr>
          <a:xfrm>
            <a:off x="5196408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35AB66B-0222-40FC-9B84-D783B8739177}"/>
              </a:ext>
            </a:extLst>
          </p:cNvPr>
          <p:cNvSpPr/>
          <p:nvPr/>
        </p:nvSpPr>
        <p:spPr>
          <a:xfrm>
            <a:off x="7572516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BA87DA1-C8BE-45AE-8D59-D11A55A1576F}"/>
              </a:ext>
            </a:extLst>
          </p:cNvPr>
          <p:cNvSpPr/>
          <p:nvPr/>
        </p:nvSpPr>
        <p:spPr>
          <a:xfrm>
            <a:off x="9948627" y="2655364"/>
            <a:ext cx="1835385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1"/>
                </a:solidFill>
                <a:latin typeface="+mj-lt"/>
              </a:rPr>
              <a:t>Tex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A6F9F7F-7223-473C-B23C-01F5C4B713B9}"/>
              </a:ext>
            </a:extLst>
          </p:cNvPr>
          <p:cNvGrpSpPr/>
          <p:nvPr/>
        </p:nvGrpSpPr>
        <p:grpSpPr>
          <a:xfrm>
            <a:off x="2531991" y="3176972"/>
            <a:ext cx="7128018" cy="1908212"/>
            <a:chOff x="2531991" y="2853304"/>
            <a:chExt cx="7128018" cy="3420000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7126435-39C4-4601-9D25-75E9F3EDE273}"/>
                </a:ext>
              </a:extLst>
            </p:cNvPr>
            <p:cNvCxnSpPr>
              <a:cxnSpLocks/>
            </p:cNvCxnSpPr>
            <p:nvPr/>
          </p:nvCxnSpPr>
          <p:spPr>
            <a:xfrm>
              <a:off x="2531991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C360F91-A7EE-489D-A0DC-8E69522F0451}"/>
                </a:ext>
              </a:extLst>
            </p:cNvPr>
            <p:cNvCxnSpPr>
              <a:cxnSpLocks/>
            </p:cNvCxnSpPr>
            <p:nvPr/>
          </p:nvCxnSpPr>
          <p:spPr>
            <a:xfrm>
              <a:off x="49079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E38B374-4EB2-4612-ACF3-F2AF0919DB31}"/>
                </a:ext>
              </a:extLst>
            </p:cNvPr>
            <p:cNvCxnSpPr>
              <a:cxnSpLocks/>
            </p:cNvCxnSpPr>
            <p:nvPr/>
          </p:nvCxnSpPr>
          <p:spPr>
            <a:xfrm>
              <a:off x="7284003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A6EE0CE9-E355-406B-AA5C-44124CE470D7}"/>
                </a:ext>
              </a:extLst>
            </p:cNvPr>
            <p:cNvCxnSpPr>
              <a:cxnSpLocks/>
            </p:cNvCxnSpPr>
            <p:nvPr/>
          </p:nvCxnSpPr>
          <p:spPr>
            <a:xfrm>
              <a:off x="9660009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Grafik 48">
            <a:extLst>
              <a:ext uri="{FF2B5EF4-FFF2-40B4-BE49-F238E27FC236}">
                <a16:creationId xmlns:a16="http://schemas.microsoft.com/office/drawing/2014/main" id="{9BF97062-9921-4B89-A2C5-9F38F3E2BD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96408" y="184482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BACC96A0-C328-4DCA-89FD-ACC08A5A8D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72516" y="184482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0350D791-31F2-45BB-AAD1-A8794E1C25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48627" y="1844824"/>
            <a:ext cx="698238" cy="698238"/>
          </a:xfrm>
          <a:prstGeom prst="rect">
            <a:avLst/>
          </a:prstGeom>
        </p:spPr>
      </p:pic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2BFEB14E-E6FD-4E69-94CC-FF1F6C52ECC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CFE7763-27C5-46CF-B2A7-8A3B092F341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7F07BB3F-4B36-4B1A-95DD-5D2CCAF1EF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26273F23-C445-C97D-C96B-1DB4651FA1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6800" y="1846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431D58F-1707-4642-D5F1-247439A2B7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18800" y="1846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26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85A3F7-BC63-4A5C-B953-097B5E5AD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reislaufprozes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26C6B5-4A3D-4DCF-B6DA-70C01AF04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CC3155-B0AA-48CC-8340-3AF4E669B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5</a:t>
            </a:fld>
            <a:endParaRPr lang="de-DE" dirty="0"/>
          </a:p>
        </p:txBody>
      </p:sp>
      <p:grpSp>
        <p:nvGrpSpPr>
          <p:cNvPr id="5" name="Gruppierung 20">
            <a:extLst>
              <a:ext uri="{FF2B5EF4-FFF2-40B4-BE49-F238E27FC236}">
                <a16:creationId xmlns:a16="http://schemas.microsoft.com/office/drawing/2014/main" id="{5E96ECD1-E2C9-47B6-AF34-79606FCE3F26}"/>
              </a:ext>
            </a:extLst>
          </p:cNvPr>
          <p:cNvGrpSpPr>
            <a:grpSpLocks noChangeAspect="1"/>
          </p:cNvGrpSpPr>
          <p:nvPr/>
        </p:nvGrpSpPr>
        <p:grpSpPr>
          <a:xfrm>
            <a:off x="1146391" y="2104198"/>
            <a:ext cx="4066743" cy="4068000"/>
            <a:chOff x="11782230" y="2938776"/>
            <a:chExt cx="11165283" cy="11168729"/>
          </a:xfrm>
        </p:grpSpPr>
        <p:sp>
          <p:nvSpPr>
            <p:cNvPr id="6" name="Ellipse 23">
              <a:extLst>
                <a:ext uri="{FF2B5EF4-FFF2-40B4-BE49-F238E27FC236}">
                  <a16:creationId xmlns:a16="http://schemas.microsoft.com/office/drawing/2014/main" id="{397AE96E-4259-432F-9397-50A335EC81C5}"/>
                </a:ext>
              </a:extLst>
            </p:cNvPr>
            <p:cNvSpPr/>
            <p:nvPr/>
          </p:nvSpPr>
          <p:spPr>
            <a:xfrm>
              <a:off x="17366533" y="2938776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" name="Ellipse 23">
              <a:extLst>
                <a:ext uri="{FF2B5EF4-FFF2-40B4-BE49-F238E27FC236}">
                  <a16:creationId xmlns:a16="http://schemas.microsoft.com/office/drawing/2014/main" id="{3F6073CE-BE70-4934-9018-513AB6981FDF}"/>
                </a:ext>
              </a:extLst>
            </p:cNvPr>
            <p:cNvSpPr/>
            <p:nvPr/>
          </p:nvSpPr>
          <p:spPr>
            <a:xfrm rot="16200000">
              <a:off x="11715822" y="3005187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" name="Ellipse 23">
              <a:extLst>
                <a:ext uri="{FF2B5EF4-FFF2-40B4-BE49-F238E27FC236}">
                  <a16:creationId xmlns:a16="http://schemas.microsoft.com/office/drawing/2014/main" id="{E6EF64A2-F142-4557-9A17-0A4E86CC5EB1}"/>
                </a:ext>
              </a:extLst>
            </p:cNvPr>
            <p:cNvSpPr/>
            <p:nvPr/>
          </p:nvSpPr>
          <p:spPr>
            <a:xfrm flipV="1">
              <a:off x="17366533" y="8659342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" name="Ellipse 23">
              <a:extLst>
                <a:ext uri="{FF2B5EF4-FFF2-40B4-BE49-F238E27FC236}">
                  <a16:creationId xmlns:a16="http://schemas.microsoft.com/office/drawing/2014/main" id="{FC3467E3-1236-4D06-975F-BCDC30BBE58C}"/>
                </a:ext>
              </a:extLst>
            </p:cNvPr>
            <p:cNvSpPr/>
            <p:nvPr/>
          </p:nvSpPr>
          <p:spPr>
            <a:xfrm rot="5400000" flipV="1">
              <a:off x="11715822" y="8592933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FF173DE-A397-4928-BAD7-B2C255BF11C9}"/>
                </a:ext>
              </a:extLst>
            </p:cNvPr>
            <p:cNvSpPr/>
            <p:nvPr/>
          </p:nvSpPr>
          <p:spPr>
            <a:xfrm>
              <a:off x="13581365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1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CF2CBCF-E9CA-412F-AA29-84ABF3827E12}"/>
                </a:ext>
              </a:extLst>
            </p:cNvPr>
            <p:cNvSpPr/>
            <p:nvPr/>
          </p:nvSpPr>
          <p:spPr>
            <a:xfrm>
              <a:off x="17721894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2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1BBC62F-FFC4-41E0-BF6F-C8ECCF07B292}"/>
                </a:ext>
              </a:extLst>
            </p:cNvPr>
            <p:cNvSpPr/>
            <p:nvPr/>
          </p:nvSpPr>
          <p:spPr>
            <a:xfrm>
              <a:off x="13581365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4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338ECDA-8578-4857-A9F0-08E6031AEC7E}"/>
                </a:ext>
              </a:extLst>
            </p:cNvPr>
            <p:cNvSpPr/>
            <p:nvPr/>
          </p:nvSpPr>
          <p:spPr>
            <a:xfrm>
              <a:off x="17721894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effectLst/>
                  <a:uFillTx/>
                  <a:ea typeface="+mn-ea"/>
                  <a:cs typeface="+mn-cs"/>
                  <a:sym typeface="Helvetica Light"/>
                </a:rPr>
                <a:t>3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B2A3F0B-DC88-4C87-BAC1-C91E44C0F62A}"/>
                </a:ext>
              </a:extLst>
            </p:cNvPr>
            <p:cNvSpPr/>
            <p:nvPr/>
          </p:nvSpPr>
          <p:spPr>
            <a:xfrm>
              <a:off x="13221319" y="5099188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MM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425A26A-3E27-4D22-B2F7-904A37E2D86D}"/>
                </a:ext>
              </a:extLst>
            </p:cNvPr>
            <p:cNvSpPr/>
            <p:nvPr/>
          </p:nvSpPr>
          <p:spPr>
            <a:xfrm>
              <a:off x="20242216" y="5032777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FS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C9D40F2-9428-4BD5-80EB-47B20093EE16}"/>
                </a:ext>
              </a:extLst>
            </p:cNvPr>
            <p:cNvSpPr/>
            <p:nvPr/>
          </p:nvSpPr>
          <p:spPr>
            <a:xfrm>
              <a:off x="13221319" y="10686934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PS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37EA08E-1E71-451A-98F6-ED9F02DF644A}"/>
                </a:ext>
              </a:extLst>
            </p:cNvPr>
            <p:cNvSpPr/>
            <p:nvPr/>
          </p:nvSpPr>
          <p:spPr>
            <a:xfrm>
              <a:off x="20242216" y="10753343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GK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DBE1970-5937-482A-9C88-5E82C93A3669}"/>
              </a:ext>
            </a:extLst>
          </p:cNvPr>
          <p:cNvGrpSpPr/>
          <p:nvPr/>
        </p:nvGrpSpPr>
        <p:grpSpPr>
          <a:xfrm flipH="1">
            <a:off x="7217376" y="2262360"/>
            <a:ext cx="3748424" cy="3748422"/>
            <a:chOff x="2713412" y="2092906"/>
            <a:chExt cx="3748424" cy="3748422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CD6C082-4C31-4695-B7E8-76122408E4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 rot="18878551">
              <a:off x="2713413" y="2092905"/>
              <a:ext cx="3748422" cy="3748424"/>
              <a:chOff x="3126582" y="2424420"/>
              <a:chExt cx="2849562" cy="2849563"/>
            </a:xfrm>
            <a:solidFill>
              <a:schemeClr val="tx2"/>
            </a:solidFill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35C4E14A-6B49-4B9B-A33E-2D3FAC470D9B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913982" y="4046845"/>
                <a:ext cx="1382712" cy="1227138"/>
              </a:xfrm>
              <a:custGeom>
                <a:avLst/>
                <a:gdLst>
                  <a:gd name="T0" fmla="*/ 592 w 621"/>
                  <a:gd name="T1" fmla="*/ 408 h 551"/>
                  <a:gd name="T2" fmla="*/ 572 w 621"/>
                  <a:gd name="T3" fmla="*/ 415 h 551"/>
                  <a:gd name="T4" fmla="*/ 554 w 621"/>
                  <a:gd name="T5" fmla="*/ 419 h 551"/>
                  <a:gd name="T6" fmla="*/ 551 w 621"/>
                  <a:gd name="T7" fmla="*/ 416 h 551"/>
                  <a:gd name="T8" fmla="*/ 551 w 621"/>
                  <a:gd name="T9" fmla="*/ 409 h 551"/>
                  <a:gd name="T10" fmla="*/ 551 w 621"/>
                  <a:gd name="T11" fmla="*/ 328 h 551"/>
                  <a:gd name="T12" fmla="*/ 223 w 621"/>
                  <a:gd name="T13" fmla="*/ 0 h 551"/>
                  <a:gd name="T14" fmla="*/ 143 w 621"/>
                  <a:gd name="T15" fmla="*/ 0 h 551"/>
                  <a:gd name="T16" fmla="*/ 133 w 621"/>
                  <a:gd name="T17" fmla="*/ 0 h 551"/>
                  <a:gd name="T18" fmla="*/ 131 w 621"/>
                  <a:gd name="T19" fmla="*/ 4 h 551"/>
                  <a:gd name="T20" fmla="*/ 134 w 621"/>
                  <a:gd name="T21" fmla="*/ 22 h 551"/>
                  <a:gd name="T22" fmla="*/ 134 w 621"/>
                  <a:gd name="T23" fmla="*/ 22 h 551"/>
                  <a:gd name="T24" fmla="*/ 141 w 621"/>
                  <a:gd name="T25" fmla="*/ 41 h 551"/>
                  <a:gd name="T26" fmla="*/ 111 w 621"/>
                  <a:gd name="T27" fmla="*/ 71 h 551"/>
                  <a:gd name="T28" fmla="*/ 81 w 621"/>
                  <a:gd name="T29" fmla="*/ 41 h 551"/>
                  <a:gd name="T30" fmla="*/ 89 w 621"/>
                  <a:gd name="T31" fmla="*/ 22 h 551"/>
                  <a:gd name="T32" fmla="*/ 92 w 621"/>
                  <a:gd name="T33" fmla="*/ 4 h 551"/>
                  <a:gd name="T34" fmla="*/ 90 w 621"/>
                  <a:gd name="T35" fmla="*/ 0 h 551"/>
                  <a:gd name="T36" fmla="*/ 82 w 621"/>
                  <a:gd name="T37" fmla="*/ 0 h 551"/>
                  <a:gd name="T38" fmla="*/ 0 w 621"/>
                  <a:gd name="T39" fmla="*/ 0 h 551"/>
                  <a:gd name="T40" fmla="*/ 551 w 621"/>
                  <a:gd name="T41" fmla="*/ 551 h 551"/>
                  <a:gd name="T42" fmla="*/ 551 w 621"/>
                  <a:gd name="T43" fmla="*/ 551 h 551"/>
                  <a:gd name="T44" fmla="*/ 551 w 621"/>
                  <a:gd name="T45" fmla="*/ 470 h 551"/>
                  <a:gd name="T46" fmla="*/ 551 w 621"/>
                  <a:gd name="T47" fmla="*/ 460 h 551"/>
                  <a:gd name="T48" fmla="*/ 554 w 621"/>
                  <a:gd name="T49" fmla="*/ 457 h 551"/>
                  <a:gd name="T50" fmla="*/ 572 w 621"/>
                  <a:gd name="T51" fmla="*/ 461 h 551"/>
                  <a:gd name="T52" fmla="*/ 572 w 621"/>
                  <a:gd name="T53" fmla="*/ 461 h 551"/>
                  <a:gd name="T54" fmla="*/ 592 w 621"/>
                  <a:gd name="T55" fmla="*/ 468 h 551"/>
                  <a:gd name="T56" fmla="*/ 621 w 621"/>
                  <a:gd name="T57" fmla="*/ 438 h 551"/>
                  <a:gd name="T58" fmla="*/ 592 w 621"/>
                  <a:gd name="T59" fmla="*/ 408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21" h="551">
                    <a:moveTo>
                      <a:pt x="592" y="408"/>
                    </a:moveTo>
                    <a:cubicBezTo>
                      <a:pt x="584" y="408"/>
                      <a:pt x="577" y="410"/>
                      <a:pt x="572" y="415"/>
                    </a:cubicBezTo>
                    <a:cubicBezTo>
                      <a:pt x="568" y="420"/>
                      <a:pt x="561" y="421"/>
                      <a:pt x="554" y="419"/>
                    </a:cubicBezTo>
                    <a:cubicBezTo>
                      <a:pt x="553" y="418"/>
                      <a:pt x="552" y="417"/>
                      <a:pt x="551" y="416"/>
                    </a:cubicBezTo>
                    <a:cubicBezTo>
                      <a:pt x="551" y="409"/>
                      <a:pt x="551" y="409"/>
                      <a:pt x="551" y="409"/>
                    </a:cubicBezTo>
                    <a:cubicBezTo>
                      <a:pt x="551" y="328"/>
                      <a:pt x="551" y="328"/>
                      <a:pt x="551" y="328"/>
                    </a:cubicBezTo>
                    <a:cubicBezTo>
                      <a:pt x="369" y="328"/>
                      <a:pt x="223" y="181"/>
                      <a:pt x="22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2" y="1"/>
                      <a:pt x="131" y="2"/>
                      <a:pt x="131" y="4"/>
                    </a:cubicBezTo>
                    <a:cubicBezTo>
                      <a:pt x="128" y="10"/>
                      <a:pt x="129" y="18"/>
                      <a:pt x="134" y="22"/>
                    </a:cubicBezTo>
                    <a:cubicBezTo>
                      <a:pt x="134" y="22"/>
                      <a:pt x="134" y="22"/>
                      <a:pt x="134" y="22"/>
                    </a:cubicBezTo>
                    <a:cubicBezTo>
                      <a:pt x="139" y="27"/>
                      <a:pt x="141" y="34"/>
                      <a:pt x="141" y="41"/>
                    </a:cubicBezTo>
                    <a:cubicBezTo>
                      <a:pt x="141" y="58"/>
                      <a:pt x="128" y="71"/>
                      <a:pt x="111" y="71"/>
                    </a:cubicBezTo>
                    <a:cubicBezTo>
                      <a:pt x="94" y="71"/>
                      <a:pt x="81" y="58"/>
                      <a:pt x="81" y="41"/>
                    </a:cubicBezTo>
                    <a:cubicBezTo>
                      <a:pt x="81" y="34"/>
                      <a:pt x="84" y="27"/>
                      <a:pt x="89" y="22"/>
                    </a:cubicBezTo>
                    <a:cubicBezTo>
                      <a:pt x="93" y="18"/>
                      <a:pt x="95" y="10"/>
                      <a:pt x="92" y="4"/>
                    </a:cubicBezTo>
                    <a:cubicBezTo>
                      <a:pt x="91" y="2"/>
                      <a:pt x="91" y="1"/>
                      <a:pt x="90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4"/>
                      <a:pt x="247" y="551"/>
                      <a:pt x="551" y="551"/>
                    </a:cubicBezTo>
                    <a:cubicBezTo>
                      <a:pt x="551" y="551"/>
                      <a:pt x="551" y="551"/>
                      <a:pt x="551" y="551"/>
                    </a:cubicBezTo>
                    <a:cubicBezTo>
                      <a:pt x="551" y="470"/>
                      <a:pt x="551" y="470"/>
                      <a:pt x="551" y="470"/>
                    </a:cubicBezTo>
                    <a:cubicBezTo>
                      <a:pt x="551" y="460"/>
                      <a:pt x="551" y="460"/>
                      <a:pt x="551" y="460"/>
                    </a:cubicBezTo>
                    <a:cubicBezTo>
                      <a:pt x="552" y="459"/>
                      <a:pt x="553" y="458"/>
                      <a:pt x="554" y="457"/>
                    </a:cubicBezTo>
                    <a:cubicBezTo>
                      <a:pt x="561" y="454"/>
                      <a:pt x="568" y="456"/>
                      <a:pt x="572" y="461"/>
                    </a:cubicBezTo>
                    <a:cubicBezTo>
                      <a:pt x="572" y="461"/>
                      <a:pt x="572" y="461"/>
                      <a:pt x="572" y="461"/>
                    </a:cubicBezTo>
                    <a:cubicBezTo>
                      <a:pt x="578" y="465"/>
                      <a:pt x="584" y="468"/>
                      <a:pt x="592" y="468"/>
                    </a:cubicBezTo>
                    <a:cubicBezTo>
                      <a:pt x="608" y="468"/>
                      <a:pt x="621" y="455"/>
                      <a:pt x="621" y="438"/>
                    </a:cubicBezTo>
                    <a:cubicBezTo>
                      <a:pt x="621" y="421"/>
                      <a:pt x="608" y="408"/>
                      <a:pt x="592" y="4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79482827-F4FA-448E-99CE-2C4F1264FCF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126582" y="3213408"/>
                <a:ext cx="1227137" cy="1382712"/>
              </a:xfrm>
              <a:custGeom>
                <a:avLst/>
                <a:gdLst>
                  <a:gd name="T0" fmla="*/ 551 w 551"/>
                  <a:gd name="T1" fmla="*/ 132 h 621"/>
                  <a:gd name="T2" fmla="*/ 547 w 551"/>
                  <a:gd name="T3" fmla="*/ 130 h 621"/>
                  <a:gd name="T4" fmla="*/ 529 w 551"/>
                  <a:gd name="T5" fmla="*/ 133 h 621"/>
                  <a:gd name="T6" fmla="*/ 529 w 551"/>
                  <a:gd name="T7" fmla="*/ 133 h 621"/>
                  <a:gd name="T8" fmla="*/ 510 w 551"/>
                  <a:gd name="T9" fmla="*/ 141 h 621"/>
                  <a:gd name="T10" fmla="*/ 480 w 551"/>
                  <a:gd name="T11" fmla="*/ 111 h 621"/>
                  <a:gd name="T12" fmla="*/ 510 w 551"/>
                  <a:gd name="T13" fmla="*/ 80 h 621"/>
                  <a:gd name="T14" fmla="*/ 529 w 551"/>
                  <a:gd name="T15" fmla="*/ 88 h 621"/>
                  <a:gd name="T16" fmla="*/ 547 w 551"/>
                  <a:gd name="T17" fmla="*/ 91 h 621"/>
                  <a:gd name="T18" fmla="*/ 551 w 551"/>
                  <a:gd name="T19" fmla="*/ 89 h 621"/>
                  <a:gd name="T20" fmla="*/ 551 w 551"/>
                  <a:gd name="T21" fmla="*/ 82 h 621"/>
                  <a:gd name="T22" fmla="*/ 551 w 551"/>
                  <a:gd name="T23" fmla="*/ 0 h 621"/>
                  <a:gd name="T24" fmla="*/ 551 w 551"/>
                  <a:gd name="T25" fmla="*/ 0 h 621"/>
                  <a:gd name="T26" fmla="*/ 0 w 551"/>
                  <a:gd name="T27" fmla="*/ 550 h 621"/>
                  <a:gd name="T28" fmla="*/ 82 w 551"/>
                  <a:gd name="T29" fmla="*/ 550 h 621"/>
                  <a:gd name="T30" fmla="*/ 90 w 551"/>
                  <a:gd name="T31" fmla="*/ 550 h 621"/>
                  <a:gd name="T32" fmla="*/ 92 w 551"/>
                  <a:gd name="T33" fmla="*/ 554 h 621"/>
                  <a:gd name="T34" fmla="*/ 89 w 551"/>
                  <a:gd name="T35" fmla="*/ 572 h 621"/>
                  <a:gd name="T36" fmla="*/ 81 w 551"/>
                  <a:gd name="T37" fmla="*/ 591 h 621"/>
                  <a:gd name="T38" fmla="*/ 111 w 551"/>
                  <a:gd name="T39" fmla="*/ 621 h 621"/>
                  <a:gd name="T40" fmla="*/ 141 w 551"/>
                  <a:gd name="T41" fmla="*/ 591 h 621"/>
                  <a:gd name="T42" fmla="*/ 134 w 551"/>
                  <a:gd name="T43" fmla="*/ 572 h 621"/>
                  <a:gd name="T44" fmla="*/ 134 w 551"/>
                  <a:gd name="T45" fmla="*/ 572 h 621"/>
                  <a:gd name="T46" fmla="*/ 131 w 551"/>
                  <a:gd name="T47" fmla="*/ 554 h 621"/>
                  <a:gd name="T48" fmla="*/ 133 w 551"/>
                  <a:gd name="T49" fmla="*/ 550 h 621"/>
                  <a:gd name="T50" fmla="*/ 143 w 551"/>
                  <a:gd name="T51" fmla="*/ 550 h 621"/>
                  <a:gd name="T52" fmla="*/ 223 w 551"/>
                  <a:gd name="T53" fmla="*/ 550 h 621"/>
                  <a:gd name="T54" fmla="*/ 551 w 551"/>
                  <a:gd name="T55" fmla="*/ 222 h 621"/>
                  <a:gd name="T56" fmla="*/ 551 w 551"/>
                  <a:gd name="T57" fmla="*/ 142 h 621"/>
                  <a:gd name="T58" fmla="*/ 551 w 551"/>
                  <a:gd name="T59" fmla="*/ 132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1" h="621">
                    <a:moveTo>
                      <a:pt x="551" y="132"/>
                    </a:moveTo>
                    <a:cubicBezTo>
                      <a:pt x="550" y="131"/>
                      <a:pt x="548" y="131"/>
                      <a:pt x="547" y="130"/>
                    </a:cubicBezTo>
                    <a:cubicBezTo>
                      <a:pt x="541" y="127"/>
                      <a:pt x="533" y="129"/>
                      <a:pt x="529" y="133"/>
                    </a:cubicBezTo>
                    <a:cubicBezTo>
                      <a:pt x="529" y="133"/>
                      <a:pt x="529" y="133"/>
                      <a:pt x="529" y="133"/>
                    </a:cubicBezTo>
                    <a:cubicBezTo>
                      <a:pt x="524" y="138"/>
                      <a:pt x="517" y="141"/>
                      <a:pt x="510" y="141"/>
                    </a:cubicBezTo>
                    <a:cubicBezTo>
                      <a:pt x="493" y="141"/>
                      <a:pt x="480" y="127"/>
                      <a:pt x="480" y="111"/>
                    </a:cubicBezTo>
                    <a:cubicBezTo>
                      <a:pt x="480" y="94"/>
                      <a:pt x="493" y="80"/>
                      <a:pt x="510" y="80"/>
                    </a:cubicBezTo>
                    <a:cubicBezTo>
                      <a:pt x="517" y="80"/>
                      <a:pt x="524" y="83"/>
                      <a:pt x="529" y="88"/>
                    </a:cubicBezTo>
                    <a:cubicBezTo>
                      <a:pt x="533" y="92"/>
                      <a:pt x="541" y="94"/>
                      <a:pt x="547" y="91"/>
                    </a:cubicBezTo>
                    <a:cubicBezTo>
                      <a:pt x="548" y="91"/>
                      <a:pt x="550" y="90"/>
                      <a:pt x="551" y="89"/>
                    </a:cubicBezTo>
                    <a:cubicBezTo>
                      <a:pt x="551" y="82"/>
                      <a:pt x="551" y="82"/>
                      <a:pt x="551" y="82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247" y="0"/>
                      <a:pt x="0" y="246"/>
                      <a:pt x="0" y="550"/>
                    </a:cubicBezTo>
                    <a:cubicBezTo>
                      <a:pt x="82" y="550"/>
                      <a:pt x="82" y="550"/>
                      <a:pt x="82" y="550"/>
                    </a:cubicBezTo>
                    <a:cubicBezTo>
                      <a:pt x="90" y="550"/>
                      <a:pt x="90" y="550"/>
                      <a:pt x="90" y="550"/>
                    </a:cubicBezTo>
                    <a:cubicBezTo>
                      <a:pt x="91" y="551"/>
                      <a:pt x="91" y="552"/>
                      <a:pt x="92" y="554"/>
                    </a:cubicBezTo>
                    <a:cubicBezTo>
                      <a:pt x="95" y="560"/>
                      <a:pt x="93" y="568"/>
                      <a:pt x="89" y="572"/>
                    </a:cubicBezTo>
                    <a:cubicBezTo>
                      <a:pt x="84" y="577"/>
                      <a:pt x="81" y="584"/>
                      <a:pt x="81" y="591"/>
                    </a:cubicBezTo>
                    <a:cubicBezTo>
                      <a:pt x="81" y="608"/>
                      <a:pt x="94" y="621"/>
                      <a:pt x="111" y="621"/>
                    </a:cubicBezTo>
                    <a:cubicBezTo>
                      <a:pt x="128" y="621"/>
                      <a:pt x="141" y="608"/>
                      <a:pt x="141" y="591"/>
                    </a:cubicBezTo>
                    <a:cubicBezTo>
                      <a:pt x="141" y="584"/>
                      <a:pt x="139" y="577"/>
                      <a:pt x="134" y="572"/>
                    </a:cubicBezTo>
                    <a:cubicBezTo>
                      <a:pt x="134" y="572"/>
                      <a:pt x="134" y="572"/>
                      <a:pt x="134" y="572"/>
                    </a:cubicBezTo>
                    <a:cubicBezTo>
                      <a:pt x="129" y="568"/>
                      <a:pt x="128" y="560"/>
                      <a:pt x="131" y="554"/>
                    </a:cubicBezTo>
                    <a:cubicBezTo>
                      <a:pt x="131" y="552"/>
                      <a:pt x="132" y="551"/>
                      <a:pt x="133" y="550"/>
                    </a:cubicBezTo>
                    <a:cubicBezTo>
                      <a:pt x="143" y="550"/>
                      <a:pt x="143" y="550"/>
                      <a:pt x="143" y="550"/>
                    </a:cubicBezTo>
                    <a:cubicBezTo>
                      <a:pt x="223" y="550"/>
                      <a:pt x="223" y="550"/>
                      <a:pt x="223" y="550"/>
                    </a:cubicBezTo>
                    <a:cubicBezTo>
                      <a:pt x="223" y="369"/>
                      <a:pt x="369" y="222"/>
                      <a:pt x="551" y="222"/>
                    </a:cubicBezTo>
                    <a:cubicBezTo>
                      <a:pt x="551" y="142"/>
                      <a:pt x="551" y="142"/>
                      <a:pt x="551" y="142"/>
                    </a:cubicBezTo>
                    <a:lnTo>
                      <a:pt x="551" y="13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0E0F6064-9313-471C-9D78-80758C4FEF8D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804444" y="2424420"/>
                <a:ext cx="1382713" cy="1223963"/>
              </a:xfrm>
              <a:custGeom>
                <a:avLst/>
                <a:gdLst>
                  <a:gd name="T0" fmla="*/ 71 w 621"/>
                  <a:gd name="T1" fmla="*/ 142 h 550"/>
                  <a:gd name="T2" fmla="*/ 71 w 621"/>
                  <a:gd name="T3" fmla="*/ 222 h 550"/>
                  <a:gd name="T4" fmla="*/ 399 w 621"/>
                  <a:gd name="T5" fmla="*/ 550 h 550"/>
                  <a:gd name="T6" fmla="*/ 480 w 621"/>
                  <a:gd name="T7" fmla="*/ 550 h 550"/>
                  <a:gd name="T8" fmla="*/ 487 w 621"/>
                  <a:gd name="T9" fmla="*/ 550 h 550"/>
                  <a:gd name="T10" fmla="*/ 490 w 621"/>
                  <a:gd name="T11" fmla="*/ 547 h 550"/>
                  <a:gd name="T12" fmla="*/ 486 w 621"/>
                  <a:gd name="T13" fmla="*/ 529 h 550"/>
                  <a:gd name="T14" fmla="*/ 479 w 621"/>
                  <a:gd name="T15" fmla="*/ 509 h 550"/>
                  <a:gd name="T16" fmla="*/ 509 w 621"/>
                  <a:gd name="T17" fmla="*/ 480 h 550"/>
                  <a:gd name="T18" fmla="*/ 539 w 621"/>
                  <a:gd name="T19" fmla="*/ 509 h 550"/>
                  <a:gd name="T20" fmla="*/ 532 w 621"/>
                  <a:gd name="T21" fmla="*/ 528 h 550"/>
                  <a:gd name="T22" fmla="*/ 532 w 621"/>
                  <a:gd name="T23" fmla="*/ 529 h 550"/>
                  <a:gd name="T24" fmla="*/ 528 w 621"/>
                  <a:gd name="T25" fmla="*/ 547 h 550"/>
                  <a:gd name="T26" fmla="*/ 531 w 621"/>
                  <a:gd name="T27" fmla="*/ 550 h 550"/>
                  <a:gd name="T28" fmla="*/ 541 w 621"/>
                  <a:gd name="T29" fmla="*/ 550 h 550"/>
                  <a:gd name="T30" fmla="*/ 621 w 621"/>
                  <a:gd name="T31" fmla="*/ 550 h 550"/>
                  <a:gd name="T32" fmla="*/ 71 w 621"/>
                  <a:gd name="T33" fmla="*/ 0 h 550"/>
                  <a:gd name="T34" fmla="*/ 71 w 621"/>
                  <a:gd name="T35" fmla="*/ 82 h 550"/>
                  <a:gd name="T36" fmla="*/ 71 w 621"/>
                  <a:gd name="T37" fmla="*/ 89 h 550"/>
                  <a:gd name="T38" fmla="*/ 67 w 621"/>
                  <a:gd name="T39" fmla="*/ 91 h 550"/>
                  <a:gd name="T40" fmla="*/ 49 w 621"/>
                  <a:gd name="T41" fmla="*/ 88 h 550"/>
                  <a:gd name="T42" fmla="*/ 30 w 621"/>
                  <a:gd name="T43" fmla="*/ 80 h 550"/>
                  <a:gd name="T44" fmla="*/ 0 w 621"/>
                  <a:gd name="T45" fmla="*/ 111 h 550"/>
                  <a:gd name="T46" fmla="*/ 30 w 621"/>
                  <a:gd name="T47" fmla="*/ 141 h 550"/>
                  <a:gd name="T48" fmla="*/ 49 w 621"/>
                  <a:gd name="T49" fmla="*/ 133 h 550"/>
                  <a:gd name="T50" fmla="*/ 49 w 621"/>
                  <a:gd name="T51" fmla="*/ 133 h 550"/>
                  <a:gd name="T52" fmla="*/ 67 w 621"/>
                  <a:gd name="T53" fmla="*/ 130 h 550"/>
                  <a:gd name="T54" fmla="*/ 71 w 621"/>
                  <a:gd name="T55" fmla="*/ 132 h 550"/>
                  <a:gd name="T56" fmla="*/ 71 w 621"/>
                  <a:gd name="T57" fmla="*/ 142 h 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21" h="550">
                    <a:moveTo>
                      <a:pt x="71" y="142"/>
                    </a:moveTo>
                    <a:cubicBezTo>
                      <a:pt x="71" y="222"/>
                      <a:pt x="71" y="222"/>
                      <a:pt x="71" y="222"/>
                    </a:cubicBezTo>
                    <a:cubicBezTo>
                      <a:pt x="252" y="222"/>
                      <a:pt x="399" y="369"/>
                      <a:pt x="399" y="550"/>
                    </a:cubicBezTo>
                    <a:cubicBezTo>
                      <a:pt x="480" y="550"/>
                      <a:pt x="480" y="550"/>
                      <a:pt x="480" y="550"/>
                    </a:cubicBezTo>
                    <a:cubicBezTo>
                      <a:pt x="487" y="550"/>
                      <a:pt x="487" y="550"/>
                      <a:pt x="487" y="550"/>
                    </a:cubicBezTo>
                    <a:cubicBezTo>
                      <a:pt x="488" y="549"/>
                      <a:pt x="489" y="548"/>
                      <a:pt x="490" y="547"/>
                    </a:cubicBezTo>
                    <a:cubicBezTo>
                      <a:pt x="492" y="540"/>
                      <a:pt x="491" y="533"/>
                      <a:pt x="486" y="529"/>
                    </a:cubicBezTo>
                    <a:cubicBezTo>
                      <a:pt x="481" y="523"/>
                      <a:pt x="479" y="517"/>
                      <a:pt x="479" y="509"/>
                    </a:cubicBezTo>
                    <a:cubicBezTo>
                      <a:pt x="479" y="493"/>
                      <a:pt x="492" y="480"/>
                      <a:pt x="509" y="480"/>
                    </a:cubicBezTo>
                    <a:cubicBezTo>
                      <a:pt x="526" y="480"/>
                      <a:pt x="539" y="493"/>
                      <a:pt x="539" y="509"/>
                    </a:cubicBezTo>
                    <a:cubicBezTo>
                      <a:pt x="539" y="517"/>
                      <a:pt x="536" y="523"/>
                      <a:pt x="532" y="528"/>
                    </a:cubicBezTo>
                    <a:cubicBezTo>
                      <a:pt x="532" y="529"/>
                      <a:pt x="532" y="529"/>
                      <a:pt x="532" y="529"/>
                    </a:cubicBezTo>
                    <a:cubicBezTo>
                      <a:pt x="527" y="533"/>
                      <a:pt x="525" y="540"/>
                      <a:pt x="528" y="547"/>
                    </a:cubicBezTo>
                    <a:cubicBezTo>
                      <a:pt x="529" y="548"/>
                      <a:pt x="530" y="549"/>
                      <a:pt x="531" y="550"/>
                    </a:cubicBezTo>
                    <a:cubicBezTo>
                      <a:pt x="541" y="550"/>
                      <a:pt x="541" y="550"/>
                      <a:pt x="541" y="550"/>
                    </a:cubicBezTo>
                    <a:cubicBezTo>
                      <a:pt x="621" y="550"/>
                      <a:pt x="621" y="550"/>
                      <a:pt x="621" y="550"/>
                    </a:cubicBezTo>
                    <a:cubicBezTo>
                      <a:pt x="621" y="246"/>
                      <a:pt x="375" y="0"/>
                      <a:pt x="71" y="0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70" y="90"/>
                      <a:pt x="68" y="91"/>
                      <a:pt x="67" y="91"/>
                    </a:cubicBezTo>
                    <a:cubicBezTo>
                      <a:pt x="61" y="94"/>
                      <a:pt x="53" y="92"/>
                      <a:pt x="49" y="88"/>
                    </a:cubicBezTo>
                    <a:cubicBezTo>
                      <a:pt x="44" y="83"/>
                      <a:pt x="37" y="80"/>
                      <a:pt x="30" y="80"/>
                    </a:cubicBezTo>
                    <a:cubicBezTo>
                      <a:pt x="13" y="80"/>
                      <a:pt x="0" y="94"/>
                      <a:pt x="0" y="111"/>
                    </a:cubicBezTo>
                    <a:cubicBezTo>
                      <a:pt x="0" y="127"/>
                      <a:pt x="13" y="141"/>
                      <a:pt x="30" y="141"/>
                    </a:cubicBezTo>
                    <a:cubicBezTo>
                      <a:pt x="37" y="141"/>
                      <a:pt x="44" y="138"/>
                      <a:pt x="49" y="133"/>
                    </a:cubicBezTo>
                    <a:cubicBezTo>
                      <a:pt x="49" y="133"/>
                      <a:pt x="49" y="133"/>
                      <a:pt x="49" y="133"/>
                    </a:cubicBezTo>
                    <a:cubicBezTo>
                      <a:pt x="53" y="129"/>
                      <a:pt x="61" y="127"/>
                      <a:pt x="67" y="130"/>
                    </a:cubicBezTo>
                    <a:cubicBezTo>
                      <a:pt x="68" y="131"/>
                      <a:pt x="70" y="131"/>
                      <a:pt x="71" y="132"/>
                    </a:cubicBezTo>
                    <a:lnTo>
                      <a:pt x="71" y="14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 dirty="0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E093425A-A69B-43B6-99B3-42B50F96EC5A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4750594" y="3102283"/>
                <a:ext cx="1225550" cy="1382712"/>
              </a:xfrm>
              <a:custGeom>
                <a:avLst/>
                <a:gdLst>
                  <a:gd name="T0" fmla="*/ 470 w 550"/>
                  <a:gd name="T1" fmla="*/ 70 h 621"/>
                  <a:gd name="T2" fmla="*/ 460 w 550"/>
                  <a:gd name="T3" fmla="*/ 70 h 621"/>
                  <a:gd name="T4" fmla="*/ 457 w 550"/>
                  <a:gd name="T5" fmla="*/ 67 h 621"/>
                  <a:gd name="T6" fmla="*/ 461 w 550"/>
                  <a:gd name="T7" fmla="*/ 49 h 621"/>
                  <a:gd name="T8" fmla="*/ 461 w 550"/>
                  <a:gd name="T9" fmla="*/ 48 h 621"/>
                  <a:gd name="T10" fmla="*/ 468 w 550"/>
                  <a:gd name="T11" fmla="*/ 29 h 621"/>
                  <a:gd name="T12" fmla="*/ 438 w 550"/>
                  <a:gd name="T13" fmla="*/ 0 h 621"/>
                  <a:gd name="T14" fmla="*/ 408 w 550"/>
                  <a:gd name="T15" fmla="*/ 29 h 621"/>
                  <a:gd name="T16" fmla="*/ 415 w 550"/>
                  <a:gd name="T17" fmla="*/ 49 h 621"/>
                  <a:gd name="T18" fmla="*/ 419 w 550"/>
                  <a:gd name="T19" fmla="*/ 67 h 621"/>
                  <a:gd name="T20" fmla="*/ 416 w 550"/>
                  <a:gd name="T21" fmla="*/ 70 h 621"/>
                  <a:gd name="T22" fmla="*/ 409 w 550"/>
                  <a:gd name="T23" fmla="*/ 70 h 621"/>
                  <a:gd name="T24" fmla="*/ 328 w 550"/>
                  <a:gd name="T25" fmla="*/ 70 h 621"/>
                  <a:gd name="T26" fmla="*/ 0 w 550"/>
                  <a:gd name="T27" fmla="*/ 398 h 621"/>
                  <a:gd name="T28" fmla="*/ 0 w 550"/>
                  <a:gd name="T29" fmla="*/ 479 h 621"/>
                  <a:gd name="T30" fmla="*/ 0 w 550"/>
                  <a:gd name="T31" fmla="*/ 486 h 621"/>
                  <a:gd name="T32" fmla="*/ 3 w 550"/>
                  <a:gd name="T33" fmla="*/ 489 h 621"/>
                  <a:gd name="T34" fmla="*/ 21 w 550"/>
                  <a:gd name="T35" fmla="*/ 485 h 621"/>
                  <a:gd name="T36" fmla="*/ 41 w 550"/>
                  <a:gd name="T37" fmla="*/ 478 h 621"/>
                  <a:gd name="T38" fmla="*/ 70 w 550"/>
                  <a:gd name="T39" fmla="*/ 508 h 621"/>
                  <a:gd name="T40" fmla="*/ 41 w 550"/>
                  <a:gd name="T41" fmla="*/ 538 h 621"/>
                  <a:gd name="T42" fmla="*/ 21 w 550"/>
                  <a:gd name="T43" fmla="*/ 531 h 621"/>
                  <a:gd name="T44" fmla="*/ 21 w 550"/>
                  <a:gd name="T45" fmla="*/ 531 h 621"/>
                  <a:gd name="T46" fmla="*/ 3 w 550"/>
                  <a:gd name="T47" fmla="*/ 527 h 621"/>
                  <a:gd name="T48" fmla="*/ 0 w 550"/>
                  <a:gd name="T49" fmla="*/ 530 h 621"/>
                  <a:gd name="T50" fmla="*/ 0 w 550"/>
                  <a:gd name="T51" fmla="*/ 540 h 621"/>
                  <a:gd name="T52" fmla="*/ 0 w 550"/>
                  <a:gd name="T53" fmla="*/ 621 h 621"/>
                  <a:gd name="T54" fmla="*/ 550 w 550"/>
                  <a:gd name="T55" fmla="*/ 70 h 621"/>
                  <a:gd name="T56" fmla="*/ 470 w 550"/>
                  <a:gd name="T57" fmla="*/ 7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50" h="621">
                    <a:moveTo>
                      <a:pt x="470" y="70"/>
                    </a:moveTo>
                    <a:cubicBezTo>
                      <a:pt x="460" y="70"/>
                      <a:pt x="460" y="70"/>
                      <a:pt x="460" y="70"/>
                    </a:cubicBezTo>
                    <a:cubicBezTo>
                      <a:pt x="459" y="69"/>
                      <a:pt x="458" y="68"/>
                      <a:pt x="457" y="67"/>
                    </a:cubicBezTo>
                    <a:cubicBezTo>
                      <a:pt x="454" y="60"/>
                      <a:pt x="456" y="53"/>
                      <a:pt x="461" y="49"/>
                    </a:cubicBezTo>
                    <a:cubicBezTo>
                      <a:pt x="461" y="48"/>
                      <a:pt x="461" y="48"/>
                      <a:pt x="461" y="48"/>
                    </a:cubicBezTo>
                    <a:cubicBezTo>
                      <a:pt x="465" y="43"/>
                      <a:pt x="468" y="37"/>
                      <a:pt x="468" y="29"/>
                    </a:cubicBezTo>
                    <a:cubicBezTo>
                      <a:pt x="468" y="13"/>
                      <a:pt x="455" y="0"/>
                      <a:pt x="438" y="0"/>
                    </a:cubicBezTo>
                    <a:cubicBezTo>
                      <a:pt x="421" y="0"/>
                      <a:pt x="408" y="13"/>
                      <a:pt x="408" y="29"/>
                    </a:cubicBezTo>
                    <a:cubicBezTo>
                      <a:pt x="408" y="37"/>
                      <a:pt x="410" y="43"/>
                      <a:pt x="415" y="49"/>
                    </a:cubicBezTo>
                    <a:cubicBezTo>
                      <a:pt x="420" y="53"/>
                      <a:pt x="421" y="60"/>
                      <a:pt x="419" y="67"/>
                    </a:cubicBezTo>
                    <a:cubicBezTo>
                      <a:pt x="418" y="68"/>
                      <a:pt x="417" y="69"/>
                      <a:pt x="416" y="70"/>
                    </a:cubicBezTo>
                    <a:cubicBezTo>
                      <a:pt x="409" y="70"/>
                      <a:pt x="409" y="70"/>
                      <a:pt x="409" y="70"/>
                    </a:cubicBezTo>
                    <a:cubicBezTo>
                      <a:pt x="328" y="70"/>
                      <a:pt x="328" y="70"/>
                      <a:pt x="328" y="70"/>
                    </a:cubicBezTo>
                    <a:cubicBezTo>
                      <a:pt x="328" y="251"/>
                      <a:pt x="181" y="398"/>
                      <a:pt x="0" y="398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1" y="487"/>
                      <a:pt x="2" y="488"/>
                      <a:pt x="3" y="489"/>
                    </a:cubicBezTo>
                    <a:cubicBezTo>
                      <a:pt x="10" y="491"/>
                      <a:pt x="17" y="490"/>
                      <a:pt x="21" y="485"/>
                    </a:cubicBezTo>
                    <a:cubicBezTo>
                      <a:pt x="26" y="480"/>
                      <a:pt x="33" y="478"/>
                      <a:pt x="41" y="478"/>
                    </a:cubicBezTo>
                    <a:cubicBezTo>
                      <a:pt x="57" y="478"/>
                      <a:pt x="70" y="491"/>
                      <a:pt x="70" y="508"/>
                    </a:cubicBezTo>
                    <a:cubicBezTo>
                      <a:pt x="70" y="525"/>
                      <a:pt x="57" y="538"/>
                      <a:pt x="41" y="538"/>
                    </a:cubicBezTo>
                    <a:cubicBezTo>
                      <a:pt x="33" y="538"/>
                      <a:pt x="27" y="535"/>
                      <a:pt x="21" y="531"/>
                    </a:cubicBezTo>
                    <a:cubicBezTo>
                      <a:pt x="21" y="531"/>
                      <a:pt x="21" y="531"/>
                      <a:pt x="21" y="531"/>
                    </a:cubicBezTo>
                    <a:cubicBezTo>
                      <a:pt x="17" y="526"/>
                      <a:pt x="10" y="524"/>
                      <a:pt x="3" y="527"/>
                    </a:cubicBezTo>
                    <a:cubicBezTo>
                      <a:pt x="2" y="528"/>
                      <a:pt x="1" y="529"/>
                      <a:pt x="0" y="530"/>
                    </a:cubicBezTo>
                    <a:cubicBezTo>
                      <a:pt x="0" y="540"/>
                      <a:pt x="0" y="540"/>
                      <a:pt x="0" y="540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304" y="621"/>
                      <a:pt x="550" y="374"/>
                      <a:pt x="550" y="70"/>
                    </a:cubicBezTo>
                    <a:lnTo>
                      <a:pt x="470" y="70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</p:grpSp>
        <p:sp>
          <p:nvSpPr>
            <p:cNvPr id="22" name="Freihandform 24">
              <a:extLst>
                <a:ext uri="{FF2B5EF4-FFF2-40B4-BE49-F238E27FC236}">
                  <a16:creationId xmlns:a16="http://schemas.microsoft.com/office/drawing/2014/main" id="{0CF88EEF-7F8E-484C-8F63-179695CF731C}"/>
                </a:ext>
              </a:extLst>
            </p:cNvPr>
            <p:cNvSpPr/>
            <p:nvPr/>
          </p:nvSpPr>
          <p:spPr bwMode="gray">
            <a:xfrm>
              <a:off x="3051442" y="2202281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3" name="Freihandform 25">
              <a:extLst>
                <a:ext uri="{FF2B5EF4-FFF2-40B4-BE49-F238E27FC236}">
                  <a16:creationId xmlns:a16="http://schemas.microsoft.com/office/drawing/2014/main" id="{3EC9F80A-8061-4C8F-BADA-FCB4339347D5}"/>
                </a:ext>
              </a:extLst>
            </p:cNvPr>
            <p:cNvSpPr/>
            <p:nvPr/>
          </p:nvSpPr>
          <p:spPr bwMode="gray">
            <a:xfrm flipH="1">
              <a:off x="5729066" y="2202281"/>
              <a:ext cx="374478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5" name="Freihandform 27">
              <a:extLst>
                <a:ext uri="{FF2B5EF4-FFF2-40B4-BE49-F238E27FC236}">
                  <a16:creationId xmlns:a16="http://schemas.microsoft.com/office/drawing/2014/main" id="{A4AA53C3-84BE-4C78-B78C-CD80C1AD4C96}"/>
                </a:ext>
              </a:extLst>
            </p:cNvPr>
            <p:cNvSpPr/>
            <p:nvPr/>
          </p:nvSpPr>
          <p:spPr bwMode="gray">
            <a:xfrm flipH="1" flipV="1">
              <a:off x="5715233" y="5174062"/>
              <a:ext cx="388311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7" name="Freihandform 29">
              <a:extLst>
                <a:ext uri="{FF2B5EF4-FFF2-40B4-BE49-F238E27FC236}">
                  <a16:creationId xmlns:a16="http://schemas.microsoft.com/office/drawing/2014/main" id="{D4AA9560-C0EA-475E-B040-915059A03FF6}"/>
                </a:ext>
              </a:extLst>
            </p:cNvPr>
            <p:cNvSpPr/>
            <p:nvPr/>
          </p:nvSpPr>
          <p:spPr bwMode="gray">
            <a:xfrm flipV="1">
              <a:off x="3051442" y="5176744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9772438-4DAB-4A4C-8C78-AAEAC351DA65}"/>
              </a:ext>
            </a:extLst>
          </p:cNvPr>
          <p:cNvCxnSpPr>
            <a:cxnSpLocks/>
          </p:cNvCxnSpPr>
          <p:nvPr/>
        </p:nvCxnSpPr>
        <p:spPr>
          <a:xfrm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DB09124-845F-4F3F-BCA2-58E9850BF62C}"/>
              </a:ext>
            </a:extLst>
          </p:cNvPr>
          <p:cNvCxnSpPr>
            <a:cxnSpLocks/>
          </p:cNvCxnSpPr>
          <p:nvPr/>
        </p:nvCxnSpPr>
        <p:spPr>
          <a:xfrm rot="16200000"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>
            <a:extLst>
              <a:ext uri="{FF2B5EF4-FFF2-40B4-BE49-F238E27FC236}">
                <a16:creationId xmlns:a16="http://schemas.microsoft.com/office/drawing/2014/main" id="{5AFC7C82-58AF-4FDC-BE8E-C29E2B510BDD}"/>
              </a:ext>
            </a:extLst>
          </p:cNvPr>
          <p:cNvSpPr/>
          <p:nvPr/>
        </p:nvSpPr>
        <p:spPr>
          <a:xfrm>
            <a:off x="2999762" y="3958198"/>
            <a:ext cx="36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7EE3134-185F-4585-8902-4DE989457C9D}"/>
              </a:ext>
            </a:extLst>
          </p:cNvPr>
          <p:cNvSpPr/>
          <p:nvPr/>
        </p:nvSpPr>
        <p:spPr bwMode="gray">
          <a:xfrm flipH="1">
            <a:off x="6383337" y="1982440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9DFF999-CEC8-4684-B778-C15066967B9D}"/>
              </a:ext>
            </a:extLst>
          </p:cNvPr>
          <p:cNvSpPr/>
          <p:nvPr/>
        </p:nvSpPr>
        <p:spPr bwMode="gray">
          <a:xfrm flipH="1">
            <a:off x="6383337" y="5523853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BF3215B-F5DE-4BB9-A182-170053740CF6}"/>
              </a:ext>
            </a:extLst>
          </p:cNvPr>
          <p:cNvSpPr/>
          <p:nvPr/>
        </p:nvSpPr>
        <p:spPr bwMode="gray">
          <a:xfrm flipH="1">
            <a:off x="10683839" y="1982440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chemeClr val="tx1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A9040C9-340D-467A-805E-3CF1FEB52E4C}"/>
              </a:ext>
            </a:extLst>
          </p:cNvPr>
          <p:cNvSpPr/>
          <p:nvPr/>
        </p:nvSpPr>
        <p:spPr bwMode="gray">
          <a:xfrm flipH="1">
            <a:off x="10683839" y="5523853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D7497E-DCD6-4F4C-9A6D-18FFF2943B69}"/>
              </a:ext>
            </a:extLst>
          </p:cNvPr>
          <p:cNvSpPr/>
          <p:nvPr/>
        </p:nvSpPr>
        <p:spPr>
          <a:xfrm>
            <a:off x="7392144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1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BED9B19-7B64-4797-A376-D256CFED56DB}"/>
              </a:ext>
            </a:extLst>
          </p:cNvPr>
          <p:cNvSpPr/>
          <p:nvPr/>
        </p:nvSpPr>
        <p:spPr>
          <a:xfrm>
            <a:off x="9516380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2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721183A-071F-48A9-9D5A-71188868A477}"/>
              </a:ext>
            </a:extLst>
          </p:cNvPr>
          <p:cNvSpPr/>
          <p:nvPr/>
        </p:nvSpPr>
        <p:spPr>
          <a:xfrm>
            <a:off x="7428148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4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0264C55-6767-4424-B6C6-4826A6287507}"/>
              </a:ext>
            </a:extLst>
          </p:cNvPr>
          <p:cNvSpPr/>
          <p:nvPr/>
        </p:nvSpPr>
        <p:spPr>
          <a:xfrm>
            <a:off x="9516380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effectLst/>
                <a:uFillTx/>
                <a:ea typeface="+mn-ea"/>
                <a:cs typeface="+mn-cs"/>
                <a:sym typeface="Helvetica Ligh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649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6</a:t>
            </a:fld>
            <a:endParaRPr lang="en-GB" dirty="0"/>
          </a:p>
        </p:txBody>
      </p:sp>
      <p:graphicFrame>
        <p:nvGraphicFramePr>
          <p:cNvPr id="12" name="Table 85">
            <a:extLst>
              <a:ext uri="{FF2B5EF4-FFF2-40B4-BE49-F238E27FC236}">
                <a16:creationId xmlns:a16="http://schemas.microsoft.com/office/drawing/2014/main" id="{30A27901-B0D8-4911-B224-99D9FDECBDF3}"/>
              </a:ext>
            </a:extLst>
          </p:cNvPr>
          <p:cNvGraphicFramePr>
            <a:graphicFrameLocks noGrp="1"/>
          </p:cNvGraphicFramePr>
          <p:nvPr/>
        </p:nvGraphicFramePr>
        <p:xfrm>
          <a:off x="407368" y="2312876"/>
          <a:ext cx="11299728" cy="3407741"/>
        </p:xfrm>
        <a:graphic>
          <a:graphicData uri="http://schemas.openxmlformats.org/drawingml/2006/table">
            <a:tbl>
              <a:tblPr firstRow="1" bandRow="1"/>
              <a:tblGrid>
                <a:gridCol w="9416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74662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079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Box 88">
            <a:extLst>
              <a:ext uri="{FF2B5EF4-FFF2-40B4-BE49-F238E27FC236}">
                <a16:creationId xmlns:a16="http://schemas.microsoft.com/office/drawing/2014/main" id="{7281E257-E1D0-46DF-8D9A-46C144FC370D}"/>
              </a:ext>
            </a:extLst>
          </p:cNvPr>
          <p:cNvSpPr txBox="1"/>
          <p:nvPr/>
        </p:nvSpPr>
        <p:spPr>
          <a:xfrm>
            <a:off x="774440" y="5992503"/>
            <a:ext cx="1505136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5" name="TextBox 89">
            <a:extLst>
              <a:ext uri="{FF2B5EF4-FFF2-40B4-BE49-F238E27FC236}">
                <a16:creationId xmlns:a16="http://schemas.microsoft.com/office/drawing/2014/main" id="{08EB278F-3A14-4F99-B20F-699FCD1E8B09}"/>
              </a:ext>
            </a:extLst>
          </p:cNvPr>
          <p:cNvSpPr txBox="1"/>
          <p:nvPr/>
        </p:nvSpPr>
        <p:spPr>
          <a:xfrm>
            <a:off x="2445472" y="5992503"/>
            <a:ext cx="1144410" cy="186141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6" name="TextBox 90">
            <a:extLst>
              <a:ext uri="{FF2B5EF4-FFF2-40B4-BE49-F238E27FC236}">
                <a16:creationId xmlns:a16="http://schemas.microsoft.com/office/drawing/2014/main" id="{6AB28508-A52D-4535-837F-8999C174ED1D}"/>
              </a:ext>
            </a:extLst>
          </p:cNvPr>
          <p:cNvSpPr txBox="1"/>
          <p:nvPr/>
        </p:nvSpPr>
        <p:spPr>
          <a:xfrm>
            <a:off x="4318074" y="5992503"/>
            <a:ext cx="1120559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21" name="Pentagon 95">
            <a:extLst>
              <a:ext uri="{FF2B5EF4-FFF2-40B4-BE49-F238E27FC236}">
                <a16:creationId xmlns:a16="http://schemas.microsoft.com/office/drawing/2014/main" id="{E432E65C-02AD-4073-BE18-79594DF4A2F0}"/>
              </a:ext>
            </a:extLst>
          </p:cNvPr>
          <p:cNvSpPr/>
          <p:nvPr/>
        </p:nvSpPr>
        <p:spPr>
          <a:xfrm>
            <a:off x="7839435" y="4571528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2" name="Pentagon 98">
            <a:extLst>
              <a:ext uri="{FF2B5EF4-FFF2-40B4-BE49-F238E27FC236}">
                <a16:creationId xmlns:a16="http://schemas.microsoft.com/office/drawing/2014/main" id="{C7C11DEF-5D93-4659-9A5B-C3AF3D9429B6}"/>
              </a:ext>
            </a:extLst>
          </p:cNvPr>
          <p:cNvSpPr/>
          <p:nvPr/>
        </p:nvSpPr>
        <p:spPr>
          <a:xfrm>
            <a:off x="9690269" y="5183261"/>
            <a:ext cx="2093744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3" name="Pentagon 102">
            <a:extLst>
              <a:ext uri="{FF2B5EF4-FFF2-40B4-BE49-F238E27FC236}">
                <a16:creationId xmlns:a16="http://schemas.microsoft.com/office/drawing/2014/main" id="{AAF8F061-E517-4EE0-A9FB-5F2718D483E2}"/>
              </a:ext>
            </a:extLst>
          </p:cNvPr>
          <p:cNvSpPr/>
          <p:nvPr/>
        </p:nvSpPr>
        <p:spPr>
          <a:xfrm>
            <a:off x="7839435" y="3954081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4" name="Pentagon 105">
            <a:extLst>
              <a:ext uri="{FF2B5EF4-FFF2-40B4-BE49-F238E27FC236}">
                <a16:creationId xmlns:a16="http://schemas.microsoft.com/office/drawing/2014/main" id="{B1574111-3D55-44FA-B58F-D561B90F22BE}"/>
              </a:ext>
            </a:extLst>
          </p:cNvPr>
          <p:cNvSpPr/>
          <p:nvPr/>
        </p:nvSpPr>
        <p:spPr>
          <a:xfrm>
            <a:off x="1335267" y="3340461"/>
            <a:ext cx="8292802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5" name="Pentagon 110">
            <a:extLst>
              <a:ext uri="{FF2B5EF4-FFF2-40B4-BE49-F238E27FC236}">
                <a16:creationId xmlns:a16="http://schemas.microsoft.com/office/drawing/2014/main" id="{65C9EC73-B493-4EDD-BFFA-6A65173F4EE3}"/>
              </a:ext>
            </a:extLst>
          </p:cNvPr>
          <p:cNvSpPr/>
          <p:nvPr/>
        </p:nvSpPr>
        <p:spPr>
          <a:xfrm>
            <a:off x="407368" y="2719733"/>
            <a:ext cx="3701668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53EE4FA-AE0E-4847-85A4-D97DE564A431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Woche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D544E9B8-A5BE-4562-9050-CFFC37B2B2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899114"/>
            <a:ext cx="374202" cy="374202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6512A831-2A67-45F6-B0FC-B024729FD6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3552" y="5899114"/>
            <a:ext cx="374202" cy="374202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A92EE870-0D76-472F-A5DA-410A1D94E0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35760" y="5899114"/>
            <a:ext cx="374202" cy="374202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31D8D0D7-628D-4783-964E-C6756AC708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9748" y="2719733"/>
            <a:ext cx="468000" cy="468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221957C1-F4E5-4DB4-A6CF-0A157D485D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2304" y="3340461"/>
            <a:ext cx="468000" cy="468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6CBBFCA3-2722-4A45-B51D-93A55150D7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2296" y="3340461"/>
            <a:ext cx="468000" cy="468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33D9A396-9FC7-490C-A719-E6E197A84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8600" y="3954081"/>
            <a:ext cx="468000" cy="468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BDF02F9C-E269-47DE-BB3A-8F67BF7E66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28600" y="4571528"/>
            <a:ext cx="468000" cy="4680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C5E6B330-8B43-4163-8C43-C40D0F74BE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28600" y="5183261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97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B7839C0-F3A6-CC44-8B1E-099D08406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507997"/>
              </p:ext>
            </p:extLst>
          </p:nvPr>
        </p:nvGraphicFramePr>
        <p:xfrm>
          <a:off x="407989" y="1844675"/>
          <a:ext cx="11376019" cy="3438240"/>
        </p:xfrm>
        <a:graphic>
          <a:graphicData uri="http://schemas.openxmlformats.org/drawingml/2006/table">
            <a:tbl>
              <a:tblPr firstRow="1" bandRow="1"/>
              <a:tblGrid>
                <a:gridCol w="2251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14745875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86385357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74769626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58237631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62212859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92501977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133937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645379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990148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68072242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365019808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0257761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754517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33366719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84698952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19123469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009056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43413320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3878017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71693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Jan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Febr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März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April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Ma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Jun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51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8D5444F-49D9-B547-A34E-B2CABB708E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714133"/>
              </p:ext>
            </p:extLst>
          </p:nvPr>
        </p:nvGraphicFramePr>
        <p:xfrm>
          <a:off x="407987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9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116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78406AFD-72E4-1A48-8ED5-AB9A2A2F6E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884854"/>
              </p:ext>
            </p:extLst>
          </p:nvPr>
        </p:nvGraphicFramePr>
        <p:xfrm>
          <a:off x="407986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6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74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1633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0679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E201E0A2-CC2D-48A2-9EDB-EBD653EB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1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421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8967E83-3CD1-4F41-903D-2C47DE7A9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2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rgbClr val="FE8F11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041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D31F189-D62E-45F3-A678-FCF238466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3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09202" y="2333375"/>
            <a:ext cx="684147" cy="4099340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758872" y="4383045"/>
            <a:ext cx="684147" cy="1270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7808540" y="2333376"/>
            <a:ext cx="684148" cy="4099339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455294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8652284" y="4725120"/>
            <a:ext cx="3096000" cy="864000"/>
          </a:xfrm>
          <a:prstGeom prst="rect">
            <a:avLst/>
          </a:prstGeom>
          <a:solidFill>
            <a:schemeClr val="bg2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636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BA99A826-CF07-4192-B183-7541F8413529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>
          <a:xfrm>
            <a:off x="6100945" y="4040972"/>
            <a:ext cx="0" cy="684147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52945" y="3176972"/>
            <a:ext cx="3096000" cy="86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3467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men und</a:t>
            </a:r>
            <a:br>
              <a:rPr lang="de-DE" dirty="0"/>
            </a:br>
            <a:r>
              <a:rPr lang="de-DE" dirty="0" err="1"/>
              <a:t>Textbox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4908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5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959226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1844675"/>
            <a:ext cx="3959223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901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6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2997100"/>
            <a:ext cx="3959226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2997100"/>
            <a:ext cx="3959223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1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B03C52BA-9042-2B71-72F9-C32761D26C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6800" y="1846800"/>
            <a:ext cx="972000" cy="972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C4A5150-E3E5-5FFF-731C-4C298EE3BB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6400" y="1846800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7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4787912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1844675"/>
            <a:ext cx="4788407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923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8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2816932"/>
            <a:ext cx="4787912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2816932"/>
            <a:ext cx="4788407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D2AF51-FEE6-B26F-B663-0081C1AD3E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6800" y="1846800"/>
            <a:ext cx="972000" cy="972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1C1D6C0-D83D-3C46-10E0-F36995FA4A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95605" y="1846800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Netze BW Wasser | Stand Dezembe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9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rgbClr val="E4DA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DEC608FC-E750-4D01-8415-493779D19F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99856" y="3652644"/>
            <a:ext cx="698238" cy="698238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C7CFA1A-DC1F-41A3-A524-57DCD0F60C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4444" y="4740384"/>
            <a:ext cx="698238" cy="698238"/>
          </a:xfrm>
          <a:prstGeom prst="rect">
            <a:avLst/>
          </a:prstGeom>
        </p:spPr>
      </p:pic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64152" y="3761602"/>
            <a:ext cx="648072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30D0EA8C-173D-415F-F5CD-023B2BDE16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16800" y="2710800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49400B0-1E8A-8635-3810-D8678ABBDF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70800" y="3790800"/>
            <a:ext cx="698400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9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ijAQqcQ0aITwZc9BpfnQ"/>
</p:tagLst>
</file>

<file path=ppt/theme/theme1.xml><?xml version="1.0" encoding="utf-8"?>
<a:theme xmlns:a="http://schemas.openxmlformats.org/drawingml/2006/main" name="Master Netze BW Wasser 2023">
  <a:themeElements>
    <a:clrScheme name="Netze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30406_Netze BW_Wasser_Master_new.potx" id="{02B78A07-CA60-42BF-BE8C-7613AD7D7EF4}" vid="{F75AE88F-145B-4A90-A093-F1DD4194B266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4EE51E3C992947B914B1847F74DDF2" ma:contentTypeVersion="17" ma:contentTypeDescription="Create a new document." ma:contentTypeScope="" ma:versionID="16b74af037b8b0928f866d6cf2b53910">
  <xsd:schema xmlns:xsd="http://www.w3.org/2001/XMLSchema" xmlns:xs="http://www.w3.org/2001/XMLSchema" xmlns:p="http://schemas.microsoft.com/office/2006/metadata/properties" xmlns:ns2="acbe3f49-9d46-442b-bd91-f8d738a9d233" xmlns:ns3="67aa796f-66a1-4674-ac9d-f847a528ea7e" targetNamespace="http://schemas.microsoft.com/office/2006/metadata/properties" ma:root="true" ma:fieldsID="fc9316a58c5791eacc2c6845aed75b23" ns2:_="" ns3:_="">
    <xsd:import namespace="acbe3f49-9d46-442b-bd91-f8d738a9d233"/>
    <xsd:import namespace="67aa796f-66a1-4674-ac9d-f847a528ea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be3f49-9d46-442b-bd91-f8d738a9d2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a796f-66a1-4674-ac9d-f847a528ea7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0a5a12a-2161-4769-8bd3-594f023355c0}" ma:internalName="TaxCatchAll" ma:showField="CatchAllData" ma:web="67aa796f-66a1-4674-ac9d-f847a528ea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7aa796f-66a1-4674-ac9d-f847a528ea7e" xsi:nil="true"/>
    <lcf76f155ced4ddcb4097134ff3c332f xmlns="acbe3f49-9d46-442b-bd91-f8d738a9d23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30D140B-7B6E-4148-A39F-11575C3F5C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5EDF55-6330-4CAC-8ED9-CCB23E9C7184}"/>
</file>

<file path=customXml/itemProps3.xml><?xml version="1.0" encoding="utf-8"?>
<ds:datastoreItem xmlns:ds="http://schemas.openxmlformats.org/officeDocument/2006/customXml" ds:itemID="{10165E9F-071E-4DE6-8F36-38BA3B9AB14D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67aa796f-66a1-4674-ac9d-f847a528ea7e"/>
    <ds:schemaRef ds:uri="http://schemas.microsoft.com/office/2006/metadata/properties"/>
    <ds:schemaRef ds:uri="acbe3f49-9d46-442b-bd91-f8d738a9d23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042022_Master_EnBW</Template>
  <TotalTime>0</TotalTime>
  <Words>7892</Words>
  <Application>Microsoft Office PowerPoint</Application>
  <PresentationFormat>Breitbild</PresentationFormat>
  <Paragraphs>1524</Paragraphs>
  <Slides>117</Slides>
  <Notes>1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7</vt:i4>
      </vt:variant>
    </vt:vector>
  </HeadingPairs>
  <TitlesOfParts>
    <vt:vector size="126" baseType="lpstr">
      <vt:lpstr>Arial</vt:lpstr>
      <vt:lpstr>Calibri</vt:lpstr>
      <vt:lpstr>EnBW DIN Pro</vt:lpstr>
      <vt:lpstr>EnBW DIN Pro Medium</vt:lpstr>
      <vt:lpstr>Mark OT Medium</vt:lpstr>
      <vt:lpstr>Times New Roman</vt:lpstr>
      <vt:lpstr>Wingdings</vt:lpstr>
      <vt:lpstr>Wingdings 2</vt:lpstr>
      <vt:lpstr>Master Netze BW Wasser 2023</vt:lpstr>
      <vt:lpstr>Titel zwei- bis vierzeilig lorem ohne Bild lorem ipsum</vt:lpstr>
      <vt:lpstr>Titel zwei- bis vierzeilig lorem ohne Bild lorem ipsu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Titel zwei- bis vierzeilig lorem mit Bild lorem</vt:lpstr>
      <vt:lpstr>Platzhalter Kapitelname</vt:lpstr>
      <vt:lpstr>Platzhalter Kapitelname</vt:lpstr>
      <vt:lpstr>Inhalt</vt:lpstr>
      <vt:lpstr>Inhalt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owerPoint-Präsentation</vt:lpstr>
      <vt:lpstr>PowerPoint-Präsentation</vt:lpstr>
      <vt:lpstr>Lorem mit Bild sit amet con</vt:lpstr>
      <vt:lpstr>Lorem mit Bild sit amet con</vt:lpstr>
      <vt:lpstr>Vielen Dank</vt:lpstr>
      <vt:lpstr>Vielen Dank</vt:lpstr>
      <vt:lpstr>Netze BW Wasser Folienbibliothek</vt:lpstr>
      <vt:lpstr>Allgemeine Vorgaben </vt:lpstr>
      <vt:lpstr>Icons</vt:lpstr>
      <vt:lpstr>Icons</vt:lpstr>
      <vt:lpstr>Icons</vt:lpstr>
      <vt:lpstr>Icons</vt:lpstr>
      <vt:lpstr>Zahlen</vt:lpstr>
      <vt:lpstr>Agenda</vt:lpstr>
      <vt:lpstr>Beispielfolien</vt:lpstr>
      <vt:lpstr>Platzhalter Titelbereich 28pt lorem Ipsum dolor maximal zweizeilig</vt:lpstr>
      <vt:lpstr>Platzhalter Titelbereich 28pt lorem Ipsum dolor maximal zweizeilig</vt:lpstr>
      <vt:lpstr>Diagramm, Texte und Störer</vt:lpstr>
      <vt:lpstr>Headline</vt:lpstr>
      <vt:lpstr>Textfolie mit Prozess aus der Mitte wachsend</vt:lpstr>
      <vt:lpstr>Textfolie mit Prozess aus der Mitte wachsen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ordcloud</vt:lpstr>
      <vt:lpstr>Wordcloud</vt:lpstr>
      <vt:lpstr>Diagramme</vt:lpstr>
      <vt:lpstr>Säulendiagramm</vt:lpstr>
      <vt:lpstr>Säulendiagramm</vt:lpstr>
      <vt:lpstr>Säulendiagramm</vt:lpstr>
      <vt:lpstr>Säulendiagramm mit Kommentar</vt:lpstr>
      <vt:lpstr>Überlagerungsdiagramm</vt:lpstr>
      <vt:lpstr>Überlagerungsdiagramm mit Kommentar</vt:lpstr>
      <vt:lpstr>Wasserfalldiagramm</vt:lpstr>
      <vt:lpstr>Wasserfalldiagramm</vt:lpstr>
      <vt:lpstr>Wasserfalldiagramm mit Kommentar</vt:lpstr>
      <vt:lpstr>Wasserfalldiagramm (fallend)</vt:lpstr>
      <vt:lpstr>Wasserfalldiagramm (fallend) mit Kommentar</vt:lpstr>
      <vt:lpstr>Balkendiagramm</vt:lpstr>
      <vt:lpstr>Balkendiagramm mit Kommentar</vt:lpstr>
      <vt:lpstr>Liniendiagramm</vt:lpstr>
      <vt:lpstr>Liniendiagramm mit Kommentar</vt:lpstr>
      <vt:lpstr>Bewertung</vt:lpstr>
      <vt:lpstr>Bewertung</vt:lpstr>
      <vt:lpstr>Zwei Kreisdiagramme</vt:lpstr>
      <vt:lpstr>Zwei Kreisdiagramme</vt:lpstr>
      <vt:lpstr>Tabellen</vt:lpstr>
      <vt:lpstr>Tabelle </vt:lpstr>
      <vt:lpstr>Kostentabelle</vt:lpstr>
      <vt:lpstr>Prozesse und Projektpläne</vt:lpstr>
      <vt:lpstr>Prozess – fünf Schritte</vt:lpstr>
      <vt:lpstr>Prozess – fünf Schritte</vt:lpstr>
      <vt:lpstr>Prozess – fünf Schritte</vt:lpstr>
      <vt:lpstr>Prozess mit (Zwischen)-Zielen</vt:lpstr>
      <vt:lpstr>Prozess mit (Zwischen)-Zielen</vt:lpstr>
      <vt:lpstr>Ablauf mit verschiedenen Optionen</vt:lpstr>
      <vt:lpstr>Ablauf mit verschiedenen Optionen</vt:lpstr>
      <vt:lpstr>Ablauf – Sechs Schritte</vt:lpstr>
      <vt:lpstr>Ablauf – Sechs Schritte</vt:lpstr>
      <vt:lpstr>Zusammenhang / Kreislauf</vt:lpstr>
      <vt:lpstr>Zusammenhang / Kreislauf</vt:lpstr>
      <vt:lpstr>Prozess – fünf Schritte</vt:lpstr>
      <vt:lpstr>Kreislaufprozesse</vt:lpstr>
      <vt:lpstr>Projektplan</vt:lpstr>
      <vt:lpstr>Projektplan</vt:lpstr>
      <vt:lpstr>Projektplan</vt:lpstr>
      <vt:lpstr>Projektplan</vt:lpstr>
      <vt:lpstr>Organigramme</vt:lpstr>
      <vt:lpstr>Organigramm</vt:lpstr>
      <vt:lpstr>Organigramm</vt:lpstr>
      <vt:lpstr>Organigramm</vt:lpstr>
      <vt:lpstr>Formen und Textboxen</vt:lpstr>
      <vt:lpstr>Faktoren – Zwei</vt:lpstr>
      <vt:lpstr>Faktoren – Zwei</vt:lpstr>
      <vt:lpstr>Aktion / Reaktion</vt:lpstr>
      <vt:lpstr>Aktion / Reaktion</vt:lpstr>
      <vt:lpstr>Bestandteile (Auswahl)</vt:lpstr>
      <vt:lpstr>Bestandteile (Auswahl)</vt:lpstr>
      <vt:lpstr>Konsequenzen – Drei</vt:lpstr>
      <vt:lpstr>Konsequenzen – Drei</vt:lpstr>
      <vt:lpstr>Konsequenzen – Drei</vt:lpstr>
      <vt:lpstr>Pyramide – fünf Bestandteile</vt:lpstr>
      <vt:lpstr>Pyramide – fünf Bestandteile</vt:lpstr>
      <vt:lpstr>Pyramide – fünf Bestandteile</vt:lpstr>
      <vt:lpstr>Pyramide – fünf Bestandteile</vt:lpstr>
      <vt:lpstr>Pyramide – fünf Bestandteile mit Komentar</vt:lpstr>
      <vt:lpstr>Bestandteile – Drei</vt:lpstr>
      <vt:lpstr>Bestandteile – Drei</vt:lpstr>
      <vt:lpstr>Bestandteile – Drei</vt:lpstr>
      <vt:lpstr>Druck von vier Seiten</vt:lpstr>
      <vt:lpstr>Zentralisierung</vt:lpstr>
      <vt:lpstr>Zentralisierung</vt:lpstr>
      <vt:lpstr>Gleichgewicht herstellen</vt:lpstr>
      <vt:lpstr>SWOT-Analyse</vt:lpstr>
      <vt:lpstr>SWOT-Analy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ze BW Folienbibliothek</dc:title>
  <dc:creator>Josefine Adams</dc:creator>
  <cp:lastModifiedBy>Lisa Conrad</cp:lastModifiedBy>
  <cp:revision>40</cp:revision>
  <dcterms:created xsi:type="dcterms:W3CDTF">2022-02-03T12:23:30Z</dcterms:created>
  <dcterms:modified xsi:type="dcterms:W3CDTF">2023-12-05T07:1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4EE51E3C992947B914B1847F74DDF2</vt:lpwstr>
  </property>
  <property fmtid="{D5CDD505-2E9C-101B-9397-08002B2CF9AE}" pid="3" name="MediaServiceImageTags">
    <vt:lpwstr/>
  </property>
</Properties>
</file>